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1" r:id="rId5"/>
  </p:sldMasterIdLst>
  <p:notesMasterIdLst>
    <p:notesMasterId r:id="rId15"/>
  </p:notesMasterIdLst>
  <p:sldIdLst>
    <p:sldId id="325" r:id="rId6"/>
    <p:sldId id="2145704007" r:id="rId7"/>
    <p:sldId id="2145704008" r:id="rId8"/>
    <p:sldId id="2145704016" r:id="rId9"/>
    <p:sldId id="2145704017" r:id="rId10"/>
    <p:sldId id="2145704013" r:id="rId11"/>
    <p:sldId id="1881839137" r:id="rId12"/>
    <p:sldId id="2145704012" r:id="rId13"/>
    <p:sldId id="2145704015" r:id="rId14"/>
  </p:sldIdLst>
  <p:sldSz cx="12192000" cy="6858000"/>
  <p:notesSz cx="6858000" cy="9144000"/>
  <p:custDataLst>
    <p:tags r:id="rId16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E5E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4769FFE-140F-4778-B012-271CEE8F4536}" v="15" dt="2022-11-24T12:36:50.632"/>
    <p1510:client id="{A6316B8A-9F56-4FB1-9690-89C928692A73}" v="726" dt="2022-11-24T15:41:23.39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494" autoAdjust="0"/>
    <p:restoredTop sz="94660"/>
  </p:normalViewPr>
  <p:slideViewPr>
    <p:cSldViewPr snapToGrid="0">
      <p:cViewPr varScale="1">
        <p:scale>
          <a:sx n="66" d="100"/>
          <a:sy n="66" d="100"/>
        </p:scale>
        <p:origin x="78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a Canellas Galceran" userId="f5c4d96c-b394-4707-b9c5-1f32c1dac721" providerId="ADAL" clId="{A6316B8A-9F56-4FB1-9690-89C928692A73}"/>
    <pc:docChg chg="undo custSel addSld delSld modSld sldOrd modMainMaster">
      <pc:chgData name="Anna Canellas Galceran" userId="f5c4d96c-b394-4707-b9c5-1f32c1dac721" providerId="ADAL" clId="{A6316B8A-9F56-4FB1-9690-89C928692A73}" dt="2022-11-24T15:41:14.417" v="1838" actId="1076"/>
      <pc:docMkLst>
        <pc:docMk/>
      </pc:docMkLst>
      <pc:sldChg chg="addSp delSp modSp mod">
        <pc:chgData name="Anna Canellas Galceran" userId="f5c4d96c-b394-4707-b9c5-1f32c1dac721" providerId="ADAL" clId="{A6316B8A-9F56-4FB1-9690-89C928692A73}" dt="2022-11-24T15:41:14.417" v="1838" actId="1076"/>
        <pc:sldMkLst>
          <pc:docMk/>
          <pc:sldMk cId="2229874587" sldId="325"/>
        </pc:sldMkLst>
        <pc:spChg chg="add del mod modVis">
          <ac:chgData name="Anna Canellas Galceran" userId="f5c4d96c-b394-4707-b9c5-1f32c1dac721" providerId="ADAL" clId="{A6316B8A-9F56-4FB1-9690-89C928692A73}" dt="2022-11-24T15:41:03.918" v="1652"/>
          <ac:spMkLst>
            <pc:docMk/>
            <pc:sldMk cId="2229874587" sldId="325"/>
            <ac:spMk id="2" creationId="{FEC21314-A3F8-44AB-A7D1-EAC411D804B8}"/>
          </ac:spMkLst>
        </pc:spChg>
        <pc:spChg chg="add del mod modVis">
          <ac:chgData name="Anna Canellas Galceran" userId="f5c4d96c-b394-4707-b9c5-1f32c1dac721" providerId="ADAL" clId="{A6316B8A-9F56-4FB1-9690-89C928692A73}" dt="2022-11-24T15:41:06.019" v="1712"/>
          <ac:spMkLst>
            <pc:docMk/>
            <pc:sldMk cId="2229874587" sldId="325"/>
            <ac:spMk id="3" creationId="{8C87FDE5-B840-4F66-9A5B-8296864689AE}"/>
          </ac:spMkLst>
        </pc:spChg>
        <pc:spChg chg="mod">
          <ac:chgData name="Anna Canellas Galceran" userId="f5c4d96c-b394-4707-b9c5-1f32c1dac721" providerId="ADAL" clId="{A6316B8A-9F56-4FB1-9690-89C928692A73}" dt="2022-11-24T15:41:12.112" v="1781" actId="948"/>
          <ac:spMkLst>
            <pc:docMk/>
            <pc:sldMk cId="2229874587" sldId="325"/>
            <ac:spMk id="4" creationId="{09F7728C-BCA8-441D-923B-131A4E3642CA}"/>
          </ac:spMkLst>
        </pc:spChg>
        <pc:spChg chg="mod">
          <ac:chgData name="Anna Canellas Galceran" userId="f5c4d96c-b394-4707-b9c5-1f32c1dac721" providerId="ADAL" clId="{A6316B8A-9F56-4FB1-9690-89C928692A73}" dt="2022-11-24T15:41:14.417" v="1838" actId="1076"/>
          <ac:spMkLst>
            <pc:docMk/>
            <pc:sldMk cId="2229874587" sldId="325"/>
            <ac:spMk id="5" creationId="{9F293AE5-2904-42E3-B796-64A10C1D6C2F}"/>
          </ac:spMkLst>
        </pc:spChg>
        <pc:spChg chg="add del mod modVis">
          <ac:chgData name="Anna Canellas Galceran" userId="f5c4d96c-b394-4707-b9c5-1f32c1dac721" providerId="ADAL" clId="{A6316B8A-9F56-4FB1-9690-89C928692A73}" dt="2022-11-24T15:41:08.349" v="1777"/>
          <ac:spMkLst>
            <pc:docMk/>
            <pc:sldMk cId="2229874587" sldId="325"/>
            <ac:spMk id="7" creationId="{49EF4FED-AA07-4F2D-BAF4-79CCBE0CED66}"/>
          </ac:spMkLst>
        </pc:spChg>
        <pc:spChg chg="add del mod modVis">
          <ac:chgData name="Anna Canellas Galceran" userId="f5c4d96c-b394-4707-b9c5-1f32c1dac721" providerId="ADAL" clId="{A6316B8A-9F56-4FB1-9690-89C928692A73}" dt="2022-11-24T15:41:12.164" v="1835"/>
          <ac:spMkLst>
            <pc:docMk/>
            <pc:sldMk cId="2229874587" sldId="325"/>
            <ac:spMk id="8" creationId="{36621C31-98DD-4DB0-A4F7-C4FF4100B160}"/>
          </ac:spMkLst>
        </pc:spChg>
        <pc:graphicFrameChg chg="mod">
          <ac:chgData name="Anna Canellas Galceran" userId="f5c4d96c-b394-4707-b9c5-1f32c1dac721" providerId="ADAL" clId="{A6316B8A-9F56-4FB1-9690-89C928692A73}" dt="2022-11-24T15:41:12.166" v="1837"/>
          <ac:graphicFrameMkLst>
            <pc:docMk/>
            <pc:sldMk cId="2229874587" sldId="325"/>
            <ac:graphicFrameMk id="6" creationId="{BBD4867C-E5FD-4146-A167-9F9330AB714F}"/>
          </ac:graphicFrameMkLst>
        </pc:graphicFrameChg>
      </pc:sldChg>
      <pc:sldChg chg="addSp delSp modSp mod ord">
        <pc:chgData name="Anna Canellas Galceran" userId="f5c4d96c-b394-4707-b9c5-1f32c1dac721" providerId="ADAL" clId="{A6316B8A-9F56-4FB1-9690-89C928692A73}" dt="2022-11-24T15:38:55.142" v="1570" actId="478"/>
        <pc:sldMkLst>
          <pc:docMk/>
          <pc:sldMk cId="996584303" sldId="1881839137"/>
        </pc:sldMkLst>
        <pc:spChg chg="add mod">
          <ac:chgData name="Anna Canellas Galceran" userId="f5c4d96c-b394-4707-b9c5-1f32c1dac721" providerId="ADAL" clId="{A6316B8A-9F56-4FB1-9690-89C928692A73}" dt="2022-11-24T15:38:53.143" v="1569"/>
          <ac:spMkLst>
            <pc:docMk/>
            <pc:sldMk cId="996584303" sldId="1881839137"/>
            <ac:spMk id="5" creationId="{A60C0248-8317-4586-A88D-5F0A6445920D}"/>
          </ac:spMkLst>
        </pc:spChg>
        <pc:spChg chg="del mod">
          <ac:chgData name="Anna Canellas Galceran" userId="f5c4d96c-b394-4707-b9c5-1f32c1dac721" providerId="ADAL" clId="{A6316B8A-9F56-4FB1-9690-89C928692A73}" dt="2022-11-24T15:38:55.142" v="1570" actId="478"/>
          <ac:spMkLst>
            <pc:docMk/>
            <pc:sldMk cId="996584303" sldId="1881839137"/>
            <ac:spMk id="81" creationId="{B691FA90-0B98-43DF-BF93-2F912A7360DF}"/>
          </ac:spMkLst>
        </pc:spChg>
      </pc:sldChg>
      <pc:sldChg chg="modSp mod">
        <pc:chgData name="Anna Canellas Galceran" userId="f5c4d96c-b394-4707-b9c5-1f32c1dac721" providerId="ADAL" clId="{A6316B8A-9F56-4FB1-9690-89C928692A73}" dt="2022-11-24T15:30:12.302" v="643" actId="1076"/>
        <pc:sldMkLst>
          <pc:docMk/>
          <pc:sldMk cId="152199787" sldId="2145704007"/>
        </pc:sldMkLst>
        <pc:spChg chg="mod">
          <ac:chgData name="Anna Canellas Galceran" userId="f5c4d96c-b394-4707-b9c5-1f32c1dac721" providerId="ADAL" clId="{A6316B8A-9F56-4FB1-9690-89C928692A73}" dt="2022-11-24T15:30:11.640" v="548" actId="948"/>
          <ac:spMkLst>
            <pc:docMk/>
            <pc:sldMk cId="152199787" sldId="2145704007"/>
            <ac:spMk id="29" creationId="{C8417E14-2899-44BD-A478-0553073E7913}"/>
          </ac:spMkLst>
        </pc:spChg>
        <pc:graphicFrameChg chg="mod">
          <ac:chgData name="Anna Canellas Galceran" userId="f5c4d96c-b394-4707-b9c5-1f32c1dac721" providerId="ADAL" clId="{A6316B8A-9F56-4FB1-9690-89C928692A73}" dt="2022-11-24T15:30:12.302" v="643" actId="1076"/>
          <ac:graphicFrameMkLst>
            <pc:docMk/>
            <pc:sldMk cId="152199787" sldId="2145704007"/>
            <ac:graphicFrameMk id="3" creationId="{3E089044-EE34-4D4D-A510-E3D82E671A26}"/>
          </ac:graphicFrameMkLst>
        </pc:graphicFrameChg>
      </pc:sldChg>
      <pc:sldChg chg="addSp delSp modSp mod">
        <pc:chgData name="Anna Canellas Galceran" userId="f5c4d96c-b394-4707-b9c5-1f32c1dac721" providerId="ADAL" clId="{A6316B8A-9F56-4FB1-9690-89C928692A73}" dt="2022-11-24T15:38:20.025" v="1531" actId="113"/>
        <pc:sldMkLst>
          <pc:docMk/>
          <pc:sldMk cId="1575420888" sldId="2145704008"/>
        </pc:sldMkLst>
        <pc:spChg chg="del mod">
          <ac:chgData name="Anna Canellas Galceran" userId="f5c4d96c-b394-4707-b9c5-1f32c1dac721" providerId="ADAL" clId="{A6316B8A-9F56-4FB1-9690-89C928692A73}" dt="2022-11-24T15:38:13.834" v="1525" actId="478"/>
          <ac:spMkLst>
            <pc:docMk/>
            <pc:sldMk cId="1575420888" sldId="2145704008"/>
            <ac:spMk id="2" creationId="{AA99B737-EC74-47E6-A61D-B7F9F95A3152}"/>
          </ac:spMkLst>
        </pc:spChg>
        <pc:spChg chg="add del mod modVis">
          <ac:chgData name="Anna Canellas Galceran" userId="f5c4d96c-b394-4707-b9c5-1f32c1dac721" providerId="ADAL" clId="{A6316B8A-9F56-4FB1-9690-89C928692A73}" dt="2022-11-24T15:30:08.530" v="355" actId="16037"/>
          <ac:spMkLst>
            <pc:docMk/>
            <pc:sldMk cId="1575420888" sldId="2145704008"/>
            <ac:spMk id="3" creationId="{2020B023-6B2D-4AB7-A2B3-9BBD42ADE25B}"/>
          </ac:spMkLst>
        </pc:spChg>
        <pc:spChg chg="add del mod modVis">
          <ac:chgData name="Anna Canellas Galceran" userId="f5c4d96c-b394-4707-b9c5-1f32c1dac721" providerId="ADAL" clId="{A6316B8A-9F56-4FB1-9690-89C928692A73}" dt="2022-11-24T15:30:11.647" v="583" actId="962"/>
          <ac:spMkLst>
            <pc:docMk/>
            <pc:sldMk cId="1575420888" sldId="2145704008"/>
            <ac:spMk id="5" creationId="{5C31E350-E409-4C3F-AC6B-1D64330006F1}"/>
          </ac:spMkLst>
        </pc:spChg>
        <pc:spChg chg="add del mod">
          <ac:chgData name="Anna Canellas Galceran" userId="f5c4d96c-b394-4707-b9c5-1f32c1dac721" providerId="ADAL" clId="{A6316B8A-9F56-4FB1-9690-89C928692A73}" dt="2022-11-24T15:38:17.889" v="1528" actId="478"/>
          <ac:spMkLst>
            <pc:docMk/>
            <pc:sldMk cId="1575420888" sldId="2145704008"/>
            <ac:spMk id="7" creationId="{5566AB6C-0F05-4C6E-BE4F-65213B30E592}"/>
          </ac:spMkLst>
        </pc:spChg>
        <pc:spChg chg="add del mod">
          <ac:chgData name="Anna Canellas Galceran" userId="f5c4d96c-b394-4707-b9c5-1f32c1dac721" providerId="ADAL" clId="{A6316B8A-9F56-4FB1-9690-89C928692A73}" dt="2022-11-24T15:38:20.025" v="1531" actId="113"/>
          <ac:spMkLst>
            <pc:docMk/>
            <pc:sldMk cId="1575420888" sldId="2145704008"/>
            <ac:spMk id="17" creationId="{A8E6B53A-33E9-4D3C-ACE7-976C07F211EE}"/>
          </ac:spMkLst>
        </pc:spChg>
        <pc:graphicFrameChg chg="mod">
          <ac:chgData name="Anna Canellas Galceran" userId="f5c4d96c-b394-4707-b9c5-1f32c1dac721" providerId="ADAL" clId="{A6316B8A-9F56-4FB1-9690-89C928692A73}" dt="2022-11-24T15:38:18.397" v="1530"/>
          <ac:graphicFrameMkLst>
            <pc:docMk/>
            <pc:sldMk cId="1575420888" sldId="2145704008"/>
            <ac:graphicFrameMk id="4" creationId="{05B9B147-C1E4-4E78-A714-E6B4AD6F8579}"/>
          </ac:graphicFrameMkLst>
        </pc:graphicFrameChg>
      </pc:sldChg>
      <pc:sldChg chg="addSp delSp modSp mod">
        <pc:chgData name="Anna Canellas Galceran" userId="f5c4d96c-b394-4707-b9c5-1f32c1dac721" providerId="ADAL" clId="{A6316B8A-9F56-4FB1-9690-89C928692A73}" dt="2022-11-24T15:39:14.208" v="1589"/>
        <pc:sldMkLst>
          <pc:docMk/>
          <pc:sldMk cId="994700290" sldId="2145704012"/>
        </pc:sldMkLst>
        <pc:spChg chg="del mod">
          <ac:chgData name="Anna Canellas Galceran" userId="f5c4d96c-b394-4707-b9c5-1f32c1dac721" providerId="ADAL" clId="{A6316B8A-9F56-4FB1-9690-89C928692A73}" dt="2022-11-24T15:39:11.278" v="1584" actId="478"/>
          <ac:spMkLst>
            <pc:docMk/>
            <pc:sldMk cId="994700290" sldId="2145704012"/>
            <ac:spMk id="2" creationId="{064E6B8C-5AE7-4C48-916D-DB01F42CC977}"/>
          </ac:spMkLst>
        </pc:spChg>
        <pc:spChg chg="add del mod">
          <ac:chgData name="Anna Canellas Galceran" userId="f5c4d96c-b394-4707-b9c5-1f32c1dac721" providerId="ADAL" clId="{A6316B8A-9F56-4FB1-9690-89C928692A73}" dt="2022-11-24T15:39:13.705" v="1587" actId="478"/>
          <ac:spMkLst>
            <pc:docMk/>
            <pc:sldMk cId="994700290" sldId="2145704012"/>
            <ac:spMk id="6" creationId="{2C71189E-B68B-4929-998F-B5DE6A4F5100}"/>
          </ac:spMkLst>
        </pc:spChg>
        <pc:spChg chg="add mod">
          <ac:chgData name="Anna Canellas Galceran" userId="f5c4d96c-b394-4707-b9c5-1f32c1dac721" providerId="ADAL" clId="{A6316B8A-9F56-4FB1-9690-89C928692A73}" dt="2022-11-24T15:39:09.178" v="1583" actId="20577"/>
          <ac:spMkLst>
            <pc:docMk/>
            <pc:sldMk cId="994700290" sldId="2145704012"/>
            <ac:spMk id="8" creationId="{84B33571-318C-4F0D-AC4A-A20F07B78044}"/>
          </ac:spMkLst>
        </pc:spChg>
        <pc:graphicFrameChg chg="mod">
          <ac:chgData name="Anna Canellas Galceran" userId="f5c4d96c-b394-4707-b9c5-1f32c1dac721" providerId="ADAL" clId="{A6316B8A-9F56-4FB1-9690-89C928692A73}" dt="2022-11-24T15:39:14.208" v="1589"/>
          <ac:graphicFrameMkLst>
            <pc:docMk/>
            <pc:sldMk cId="994700290" sldId="2145704012"/>
            <ac:graphicFrameMk id="3" creationId="{9CEC931B-5F89-4F12-9473-55C013C27372}"/>
          </ac:graphicFrameMkLst>
        </pc:graphicFrameChg>
      </pc:sldChg>
      <pc:sldChg chg="addSp delSp modSp mod">
        <pc:chgData name="Anna Canellas Galceran" userId="f5c4d96c-b394-4707-b9c5-1f32c1dac721" providerId="ADAL" clId="{A6316B8A-9F56-4FB1-9690-89C928692A73}" dt="2022-11-24T15:38:42.697" v="1561"/>
        <pc:sldMkLst>
          <pc:docMk/>
          <pc:sldMk cId="126121010" sldId="2145704013"/>
        </pc:sldMkLst>
        <pc:spChg chg="del mod">
          <ac:chgData name="Anna Canellas Galceran" userId="f5c4d96c-b394-4707-b9c5-1f32c1dac721" providerId="ADAL" clId="{A6316B8A-9F56-4FB1-9690-89C928692A73}" dt="2022-11-24T15:38:39.641" v="1555" actId="478"/>
          <ac:spMkLst>
            <pc:docMk/>
            <pc:sldMk cId="126121010" sldId="2145704013"/>
            <ac:spMk id="2" creationId="{6DDE9580-476B-46FB-9A24-DA07EFFFB0AD}"/>
          </ac:spMkLst>
        </pc:spChg>
        <pc:spChg chg="add del mod modVis">
          <ac:chgData name="Anna Canellas Galceran" userId="f5c4d96c-b394-4707-b9c5-1f32c1dac721" providerId="ADAL" clId="{A6316B8A-9F56-4FB1-9690-89C928692A73}" dt="2022-11-24T15:30:08.530" v="355" actId="16037"/>
          <ac:spMkLst>
            <pc:docMk/>
            <pc:sldMk cId="126121010" sldId="2145704013"/>
            <ac:spMk id="3" creationId="{50537D8E-AD1F-4CC9-9C85-E3B20AD26EE1}"/>
          </ac:spMkLst>
        </pc:spChg>
        <pc:spChg chg="add del mod modVis">
          <ac:chgData name="Anna Canellas Galceran" userId="f5c4d96c-b394-4707-b9c5-1f32c1dac721" providerId="ADAL" clId="{A6316B8A-9F56-4FB1-9690-89C928692A73}" dt="2022-11-24T15:30:11.652" v="619" actId="962"/>
          <ac:spMkLst>
            <pc:docMk/>
            <pc:sldMk cId="126121010" sldId="2145704013"/>
            <ac:spMk id="5" creationId="{93A7A514-2585-473D-84FD-75137271DBD7}"/>
          </ac:spMkLst>
        </pc:spChg>
        <pc:spChg chg="add del mod">
          <ac:chgData name="Anna Canellas Galceran" userId="f5c4d96c-b394-4707-b9c5-1f32c1dac721" providerId="ADAL" clId="{A6316B8A-9F56-4FB1-9690-89C928692A73}" dt="2022-11-24T15:38:42.139" v="1558" actId="478"/>
          <ac:spMkLst>
            <pc:docMk/>
            <pc:sldMk cId="126121010" sldId="2145704013"/>
            <ac:spMk id="7" creationId="{721C2B65-0347-481B-9446-5B9596688D42}"/>
          </ac:spMkLst>
        </pc:spChg>
        <pc:spChg chg="add mod">
          <ac:chgData name="Anna Canellas Galceran" userId="f5c4d96c-b394-4707-b9c5-1f32c1dac721" providerId="ADAL" clId="{A6316B8A-9F56-4FB1-9690-89C928692A73}" dt="2022-11-24T15:38:42.697" v="1561"/>
          <ac:spMkLst>
            <pc:docMk/>
            <pc:sldMk cId="126121010" sldId="2145704013"/>
            <ac:spMk id="10" creationId="{D34A7A2C-4CB1-479D-8784-2E72A7740C42}"/>
          </ac:spMkLst>
        </pc:spChg>
        <pc:graphicFrameChg chg="mod">
          <ac:chgData name="Anna Canellas Galceran" userId="f5c4d96c-b394-4707-b9c5-1f32c1dac721" providerId="ADAL" clId="{A6316B8A-9F56-4FB1-9690-89C928692A73}" dt="2022-11-24T15:38:42.647" v="1560"/>
          <ac:graphicFrameMkLst>
            <pc:docMk/>
            <pc:sldMk cId="126121010" sldId="2145704013"/>
            <ac:graphicFrameMk id="4" creationId="{CAF2BE10-80FC-4F96-B05F-68B6BBB21CCD}"/>
          </ac:graphicFrameMkLst>
        </pc:graphicFrameChg>
        <pc:picChg chg="mod">
          <ac:chgData name="Anna Canellas Galceran" userId="f5c4d96c-b394-4707-b9c5-1f32c1dac721" providerId="ADAL" clId="{A6316B8A-9F56-4FB1-9690-89C928692A73}" dt="2022-11-24T15:30:12.313" v="686" actId="1440"/>
          <ac:picMkLst>
            <pc:docMk/>
            <pc:sldMk cId="126121010" sldId="2145704013"/>
            <ac:picMk id="13" creationId="{06C16772-9A4A-4749-92C4-E5514F262496}"/>
          </ac:picMkLst>
        </pc:picChg>
      </pc:sldChg>
      <pc:sldChg chg="addSp delSp modSp mod">
        <pc:chgData name="Anna Canellas Galceran" userId="f5c4d96c-b394-4707-b9c5-1f32c1dac721" providerId="ADAL" clId="{A6316B8A-9F56-4FB1-9690-89C928692A73}" dt="2022-11-24T15:39:22.323" v="1596"/>
        <pc:sldMkLst>
          <pc:docMk/>
          <pc:sldMk cId="1579870213" sldId="2145704015"/>
        </pc:sldMkLst>
        <pc:spChg chg="del mod">
          <ac:chgData name="Anna Canellas Galceran" userId="f5c4d96c-b394-4707-b9c5-1f32c1dac721" providerId="ADAL" clId="{A6316B8A-9F56-4FB1-9690-89C928692A73}" dt="2022-11-24T15:39:19.024" v="1590" actId="478"/>
          <ac:spMkLst>
            <pc:docMk/>
            <pc:sldMk cId="1579870213" sldId="2145704015"/>
            <ac:spMk id="2" creationId="{064E6B8C-5AE7-4C48-916D-DB01F42CC977}"/>
          </ac:spMkLst>
        </pc:spChg>
        <pc:spChg chg="add del mod">
          <ac:chgData name="Anna Canellas Galceran" userId="f5c4d96c-b394-4707-b9c5-1f32c1dac721" providerId="ADAL" clId="{A6316B8A-9F56-4FB1-9690-89C928692A73}" dt="2022-11-24T15:19:49.533" v="20" actId="478"/>
          <ac:spMkLst>
            <pc:docMk/>
            <pc:sldMk cId="1579870213" sldId="2145704015"/>
            <ac:spMk id="4" creationId="{F0E196B8-A502-4B44-9A2C-94015CDA0E02}"/>
          </ac:spMkLst>
        </pc:spChg>
        <pc:spChg chg="add del mod">
          <ac:chgData name="Anna Canellas Galceran" userId="f5c4d96c-b394-4707-b9c5-1f32c1dac721" providerId="ADAL" clId="{A6316B8A-9F56-4FB1-9690-89C928692A73}" dt="2022-11-24T15:39:21.808" v="1594" actId="478"/>
          <ac:spMkLst>
            <pc:docMk/>
            <pc:sldMk cId="1579870213" sldId="2145704015"/>
            <ac:spMk id="8" creationId="{B89F0DA1-9D64-42D3-945F-1ADD9D63A2A3}"/>
          </ac:spMkLst>
        </pc:spChg>
        <pc:spChg chg="mod">
          <ac:chgData name="Anna Canellas Galceran" userId="f5c4d96c-b394-4707-b9c5-1f32c1dac721" providerId="ADAL" clId="{A6316B8A-9F56-4FB1-9690-89C928692A73}" dt="2022-11-24T15:23:10.976" v="32" actId="113"/>
          <ac:spMkLst>
            <pc:docMk/>
            <pc:sldMk cId="1579870213" sldId="2145704015"/>
            <ac:spMk id="9" creationId="{7D036886-4C54-4E06-B228-A36762C92BAB}"/>
          </ac:spMkLst>
        </pc:spChg>
        <pc:spChg chg="add mod">
          <ac:chgData name="Anna Canellas Galceran" userId="f5c4d96c-b394-4707-b9c5-1f32c1dac721" providerId="ADAL" clId="{A6316B8A-9F56-4FB1-9690-89C928692A73}" dt="2022-11-24T15:39:19.762" v="1593"/>
          <ac:spMkLst>
            <pc:docMk/>
            <pc:sldMk cId="1579870213" sldId="2145704015"/>
            <ac:spMk id="10" creationId="{4EF7402E-00B8-4276-94D5-466A15F79BD3}"/>
          </ac:spMkLst>
        </pc:spChg>
        <pc:graphicFrameChg chg="mod">
          <ac:chgData name="Anna Canellas Galceran" userId="f5c4d96c-b394-4707-b9c5-1f32c1dac721" providerId="ADAL" clId="{A6316B8A-9F56-4FB1-9690-89C928692A73}" dt="2022-11-24T15:39:22.323" v="1596"/>
          <ac:graphicFrameMkLst>
            <pc:docMk/>
            <pc:sldMk cId="1579870213" sldId="2145704015"/>
            <ac:graphicFrameMk id="3" creationId="{9CEC931B-5F89-4F12-9473-55C013C27372}"/>
          </ac:graphicFrameMkLst>
        </pc:graphicFrameChg>
      </pc:sldChg>
      <pc:sldChg chg="addSp delSp modSp mod">
        <pc:chgData name="Anna Canellas Galceran" userId="f5c4d96c-b394-4707-b9c5-1f32c1dac721" providerId="ADAL" clId="{A6316B8A-9F56-4FB1-9690-89C928692A73}" dt="2022-11-24T15:38:33.334" v="1554" actId="113"/>
        <pc:sldMkLst>
          <pc:docMk/>
          <pc:sldMk cId="611816092" sldId="2145704016"/>
        </pc:sldMkLst>
        <pc:spChg chg="del mod">
          <ac:chgData name="Anna Canellas Galceran" userId="f5c4d96c-b394-4707-b9c5-1f32c1dac721" providerId="ADAL" clId="{A6316B8A-9F56-4FB1-9690-89C928692A73}" dt="2022-11-24T15:38:30.778" v="1551" actId="478"/>
          <ac:spMkLst>
            <pc:docMk/>
            <pc:sldMk cId="611816092" sldId="2145704016"/>
            <ac:spMk id="2" creationId="{064E6B8C-5AE7-4C48-916D-DB01F42CC977}"/>
          </ac:spMkLst>
        </pc:spChg>
        <pc:spChg chg="add del mod modVis">
          <ac:chgData name="Anna Canellas Galceran" userId="f5c4d96c-b394-4707-b9c5-1f32c1dac721" providerId="ADAL" clId="{A6316B8A-9F56-4FB1-9690-89C928692A73}" dt="2022-11-24T15:30:08.530" v="355" actId="16037"/>
          <ac:spMkLst>
            <pc:docMk/>
            <pc:sldMk cId="611816092" sldId="2145704016"/>
            <ac:spMk id="4" creationId="{AF89E919-D832-48A2-873E-5ADCF7F49747}"/>
          </ac:spMkLst>
        </pc:spChg>
        <pc:spChg chg="add del mod modVis">
          <ac:chgData name="Anna Canellas Galceran" userId="f5c4d96c-b394-4707-b9c5-1f32c1dac721" providerId="ADAL" clId="{A6316B8A-9F56-4FB1-9690-89C928692A73}" dt="2022-11-24T15:30:11.639" v="546" actId="962"/>
          <ac:spMkLst>
            <pc:docMk/>
            <pc:sldMk cId="611816092" sldId="2145704016"/>
            <ac:spMk id="5" creationId="{F3AF8E6A-9C40-41E7-974E-97B3812BC36E}"/>
          </ac:spMkLst>
        </pc:spChg>
        <pc:spChg chg="add mod">
          <ac:chgData name="Anna Canellas Galceran" userId="f5c4d96c-b394-4707-b9c5-1f32c1dac721" providerId="ADAL" clId="{A6316B8A-9F56-4FB1-9690-89C928692A73}" dt="2022-11-24T15:38:30.778" v="1551" actId="478"/>
          <ac:spMkLst>
            <pc:docMk/>
            <pc:sldMk cId="611816092" sldId="2145704016"/>
            <ac:spMk id="7" creationId="{043A9131-8132-4E68-9A63-AF6B6DD7678B}"/>
          </ac:spMkLst>
        </pc:spChg>
        <pc:spChg chg="add mod">
          <ac:chgData name="Anna Canellas Galceran" userId="f5c4d96c-b394-4707-b9c5-1f32c1dac721" providerId="ADAL" clId="{A6316B8A-9F56-4FB1-9690-89C928692A73}" dt="2022-11-24T15:38:33.334" v="1554" actId="113"/>
          <ac:spMkLst>
            <pc:docMk/>
            <pc:sldMk cId="611816092" sldId="2145704016"/>
            <ac:spMk id="9" creationId="{44B9FD9C-9B03-4D31-A738-44300A2E360F}"/>
          </ac:spMkLst>
        </pc:spChg>
        <pc:graphicFrameChg chg="mod">
          <ac:chgData name="Anna Canellas Galceran" userId="f5c4d96c-b394-4707-b9c5-1f32c1dac721" providerId="ADAL" clId="{A6316B8A-9F56-4FB1-9690-89C928692A73}" dt="2022-11-24T15:38:31.290" v="1553"/>
          <ac:graphicFrameMkLst>
            <pc:docMk/>
            <pc:sldMk cId="611816092" sldId="2145704016"/>
            <ac:graphicFrameMk id="3" creationId="{9CEC931B-5F89-4F12-9473-55C013C27372}"/>
          </ac:graphicFrameMkLst>
        </pc:graphicFrameChg>
      </pc:sldChg>
      <pc:sldChg chg="addSp delSp modSp new add mod">
        <pc:chgData name="Anna Canellas Galceran" userId="f5c4d96c-b394-4707-b9c5-1f32c1dac721" providerId="ADAL" clId="{A6316B8A-9F56-4FB1-9690-89C928692A73}" dt="2022-11-24T15:38:50.171" v="1568"/>
        <pc:sldMkLst>
          <pc:docMk/>
          <pc:sldMk cId="1161796636" sldId="2145704017"/>
        </pc:sldMkLst>
        <pc:spChg chg="del mod">
          <ac:chgData name="Anna Canellas Galceran" userId="f5c4d96c-b394-4707-b9c5-1f32c1dac721" providerId="ADAL" clId="{A6316B8A-9F56-4FB1-9690-89C928692A73}" dt="2022-11-24T15:38:46.645" v="1562" actId="478"/>
          <ac:spMkLst>
            <pc:docMk/>
            <pc:sldMk cId="1161796636" sldId="2145704017"/>
            <ac:spMk id="2" creationId="{C1F61990-42BB-4658-B921-2A7000B21C91}"/>
          </ac:spMkLst>
        </pc:spChg>
        <pc:spChg chg="add del mod modVis">
          <ac:chgData name="Anna Canellas Galceran" userId="f5c4d96c-b394-4707-b9c5-1f32c1dac721" providerId="ADAL" clId="{A6316B8A-9F56-4FB1-9690-89C928692A73}" dt="2022-11-24T15:36:36.315" v="775"/>
          <ac:spMkLst>
            <pc:docMk/>
            <pc:sldMk cId="1161796636" sldId="2145704017"/>
            <ac:spMk id="6" creationId="{9884EA82-2299-406D-A7FF-28F146F19B80}"/>
          </ac:spMkLst>
        </pc:spChg>
        <pc:spChg chg="add del mod modVis">
          <ac:chgData name="Anna Canellas Galceran" userId="f5c4d96c-b394-4707-b9c5-1f32c1dac721" providerId="ADAL" clId="{A6316B8A-9F56-4FB1-9690-89C928692A73}" dt="2022-11-24T15:36:37.885" v="821"/>
          <ac:spMkLst>
            <pc:docMk/>
            <pc:sldMk cId="1161796636" sldId="2145704017"/>
            <ac:spMk id="7" creationId="{F53D6BDD-0D54-4FCE-A0A7-99BF0DCEB992}"/>
          </ac:spMkLst>
        </pc:spChg>
        <pc:spChg chg="add del mod modVis">
          <ac:chgData name="Anna Canellas Galceran" userId="f5c4d96c-b394-4707-b9c5-1f32c1dac721" providerId="ADAL" clId="{A6316B8A-9F56-4FB1-9690-89C928692A73}" dt="2022-11-24T15:36:41.782" v="882"/>
          <ac:spMkLst>
            <pc:docMk/>
            <pc:sldMk cId="1161796636" sldId="2145704017"/>
            <ac:spMk id="8" creationId="{5FF4B7A5-6714-4236-BA2E-193833F18845}"/>
          </ac:spMkLst>
        </pc:spChg>
        <pc:spChg chg="add del mod modVis">
          <ac:chgData name="Anna Canellas Galceran" userId="f5c4d96c-b394-4707-b9c5-1f32c1dac721" providerId="ADAL" clId="{A6316B8A-9F56-4FB1-9690-89C928692A73}" dt="2022-11-24T15:36:42.318" v="925"/>
          <ac:spMkLst>
            <pc:docMk/>
            <pc:sldMk cId="1161796636" sldId="2145704017"/>
            <ac:spMk id="9" creationId="{7F3A0FD8-0D41-4B29-B2ED-73882C1322AB}"/>
          </ac:spMkLst>
        </pc:spChg>
        <pc:spChg chg="add del mod modVis">
          <ac:chgData name="Anna Canellas Galceran" userId="f5c4d96c-b394-4707-b9c5-1f32c1dac721" providerId="ADAL" clId="{A6316B8A-9F56-4FB1-9690-89C928692A73}" dt="2022-11-24T15:36:43.064" v="968"/>
          <ac:spMkLst>
            <pc:docMk/>
            <pc:sldMk cId="1161796636" sldId="2145704017"/>
            <ac:spMk id="10" creationId="{DBD5B8A4-BAEF-4E8F-AD06-AB53674DBCAC}"/>
          </ac:spMkLst>
        </pc:spChg>
        <pc:spChg chg="add del mod modVis">
          <ac:chgData name="Anna Canellas Galceran" userId="f5c4d96c-b394-4707-b9c5-1f32c1dac721" providerId="ADAL" clId="{A6316B8A-9F56-4FB1-9690-89C928692A73}" dt="2022-11-24T15:36:44.411" v="1012"/>
          <ac:spMkLst>
            <pc:docMk/>
            <pc:sldMk cId="1161796636" sldId="2145704017"/>
            <ac:spMk id="11" creationId="{B57482CB-BA4C-4329-8585-22FE7746A34C}"/>
          </ac:spMkLst>
        </pc:spChg>
        <pc:spChg chg="add del mod modVis">
          <ac:chgData name="Anna Canellas Galceran" userId="f5c4d96c-b394-4707-b9c5-1f32c1dac721" providerId="ADAL" clId="{A6316B8A-9F56-4FB1-9690-89C928692A73}" dt="2022-11-24T15:36:47.101" v="1068"/>
          <ac:spMkLst>
            <pc:docMk/>
            <pc:sldMk cId="1161796636" sldId="2145704017"/>
            <ac:spMk id="12" creationId="{37E268EB-4D28-4E0F-906E-3B7249FB1115}"/>
          </ac:spMkLst>
        </pc:spChg>
        <pc:spChg chg="add del mod modVis">
          <ac:chgData name="Anna Canellas Galceran" userId="f5c4d96c-b394-4707-b9c5-1f32c1dac721" providerId="ADAL" clId="{A6316B8A-9F56-4FB1-9690-89C928692A73}" dt="2022-11-24T15:36:47.663" v="1111"/>
          <ac:spMkLst>
            <pc:docMk/>
            <pc:sldMk cId="1161796636" sldId="2145704017"/>
            <ac:spMk id="13" creationId="{46273716-822B-4EAE-8AAC-D070171EA0DF}"/>
          </ac:spMkLst>
        </pc:spChg>
        <pc:spChg chg="add del mod modVis">
          <ac:chgData name="Anna Canellas Galceran" userId="f5c4d96c-b394-4707-b9c5-1f32c1dac721" providerId="ADAL" clId="{A6316B8A-9F56-4FB1-9690-89C928692A73}" dt="2022-11-24T15:36:51.633" v="1172"/>
          <ac:spMkLst>
            <pc:docMk/>
            <pc:sldMk cId="1161796636" sldId="2145704017"/>
            <ac:spMk id="14" creationId="{021B0D67-24A5-4F3D-83DF-1EE7AAAE3B83}"/>
          </ac:spMkLst>
        </pc:spChg>
        <pc:spChg chg="add del mod modVis">
          <ac:chgData name="Anna Canellas Galceran" userId="f5c4d96c-b394-4707-b9c5-1f32c1dac721" providerId="ADAL" clId="{A6316B8A-9F56-4FB1-9690-89C928692A73}" dt="2022-11-24T15:36:55.750" v="1239"/>
          <ac:spMkLst>
            <pc:docMk/>
            <pc:sldMk cId="1161796636" sldId="2145704017"/>
            <ac:spMk id="15" creationId="{00A2CA23-D658-4EA2-84DC-3ED0D26FAB58}"/>
          </ac:spMkLst>
        </pc:spChg>
        <pc:spChg chg="add del mod modVis">
          <ac:chgData name="Anna Canellas Galceran" userId="f5c4d96c-b394-4707-b9c5-1f32c1dac721" providerId="ADAL" clId="{A6316B8A-9F56-4FB1-9690-89C928692A73}" dt="2022-11-24T15:37:00.108" v="1285"/>
          <ac:spMkLst>
            <pc:docMk/>
            <pc:sldMk cId="1161796636" sldId="2145704017"/>
            <ac:spMk id="16" creationId="{F68F7BC1-76F9-45AA-B86B-65C91D54BD3E}"/>
          </ac:spMkLst>
        </pc:spChg>
        <pc:spChg chg="add del mod modVis">
          <ac:chgData name="Anna Canellas Galceran" userId="f5c4d96c-b394-4707-b9c5-1f32c1dac721" providerId="ADAL" clId="{A6316B8A-9F56-4FB1-9690-89C928692A73}" dt="2022-11-24T15:37:04.250" v="1328"/>
          <ac:spMkLst>
            <pc:docMk/>
            <pc:sldMk cId="1161796636" sldId="2145704017"/>
            <ac:spMk id="17" creationId="{4C7A0FF1-AD62-40F3-B08F-C38C1B2AAB94}"/>
          </ac:spMkLst>
        </pc:spChg>
        <pc:spChg chg="add del mod modVis">
          <ac:chgData name="Anna Canellas Galceran" userId="f5c4d96c-b394-4707-b9c5-1f32c1dac721" providerId="ADAL" clId="{A6316B8A-9F56-4FB1-9690-89C928692A73}" dt="2022-11-24T15:37:07.710" v="1377"/>
          <ac:spMkLst>
            <pc:docMk/>
            <pc:sldMk cId="1161796636" sldId="2145704017"/>
            <ac:spMk id="18" creationId="{645D4B02-17B9-4844-9826-9A410ACDF2E7}"/>
          </ac:spMkLst>
        </pc:spChg>
        <pc:spChg chg="add del mod modVis">
          <ac:chgData name="Anna Canellas Galceran" userId="f5c4d96c-b394-4707-b9c5-1f32c1dac721" providerId="ADAL" clId="{A6316B8A-9F56-4FB1-9690-89C928692A73}" dt="2022-11-24T15:37:11.203" v="1430"/>
          <ac:spMkLst>
            <pc:docMk/>
            <pc:sldMk cId="1161796636" sldId="2145704017"/>
            <ac:spMk id="19" creationId="{B0103A4E-D910-4659-B4D4-2FD54625AF43}"/>
          </ac:spMkLst>
        </pc:spChg>
        <pc:spChg chg="add del mod modVis">
          <ac:chgData name="Anna Canellas Galceran" userId="f5c4d96c-b394-4707-b9c5-1f32c1dac721" providerId="ADAL" clId="{A6316B8A-9F56-4FB1-9690-89C928692A73}" dt="2022-11-24T15:37:12.254" v="1473"/>
          <ac:spMkLst>
            <pc:docMk/>
            <pc:sldMk cId="1161796636" sldId="2145704017"/>
            <ac:spMk id="20" creationId="{AC622711-A14C-4B4F-A678-36DA5A11A01B}"/>
          </ac:spMkLst>
        </pc:spChg>
        <pc:spChg chg="add del mod">
          <ac:chgData name="Anna Canellas Galceran" userId="f5c4d96c-b394-4707-b9c5-1f32c1dac721" providerId="ADAL" clId="{A6316B8A-9F56-4FB1-9690-89C928692A73}" dt="2022-11-24T15:38:49.661" v="1566" actId="478"/>
          <ac:spMkLst>
            <pc:docMk/>
            <pc:sldMk cId="1161796636" sldId="2145704017"/>
            <ac:spMk id="22" creationId="{1AD7F877-22C2-4031-857A-1F596EDA652D}"/>
          </ac:spMkLst>
        </pc:spChg>
        <pc:spChg chg="add mod">
          <ac:chgData name="Anna Canellas Galceran" userId="f5c4d96c-b394-4707-b9c5-1f32c1dac721" providerId="ADAL" clId="{A6316B8A-9F56-4FB1-9690-89C928692A73}" dt="2022-11-24T15:38:47.641" v="1565"/>
          <ac:spMkLst>
            <pc:docMk/>
            <pc:sldMk cId="1161796636" sldId="2145704017"/>
            <ac:spMk id="23" creationId="{9481BF3A-2EDD-45E4-A394-54A91067925C}"/>
          </ac:spMkLst>
        </pc:spChg>
        <pc:graphicFrameChg chg="add mod ord modVis">
          <ac:chgData name="Anna Canellas Galceran" userId="f5c4d96c-b394-4707-b9c5-1f32c1dac721" providerId="ADAL" clId="{A6316B8A-9F56-4FB1-9690-89C928692A73}" dt="2022-11-24T15:38:50.171" v="1568"/>
          <ac:graphicFrameMkLst>
            <pc:docMk/>
            <pc:sldMk cId="1161796636" sldId="2145704017"/>
            <ac:graphicFrameMk id="5" creationId="{F7B62971-8BAF-4017-81E8-FCEE1F753C2F}"/>
          </ac:graphicFrameMkLst>
        </pc:graphicFrameChg>
        <pc:picChg chg="add mod">
          <ac:chgData name="Anna Canellas Galceran" userId="f5c4d96c-b394-4707-b9c5-1f32c1dac721" providerId="ADAL" clId="{A6316B8A-9F56-4FB1-9690-89C928692A73}" dt="2022-11-24T15:36:26.969" v="695" actId="1076"/>
          <ac:picMkLst>
            <pc:docMk/>
            <pc:sldMk cId="1161796636" sldId="2145704017"/>
            <ac:picMk id="4" creationId="{FAE8D38E-E1DC-458D-9475-7EAE05E311F5}"/>
          </ac:picMkLst>
        </pc:picChg>
      </pc:sldChg>
      <pc:sldChg chg="new add del">
        <pc:chgData name="Anna Canellas Galceran" userId="f5c4d96c-b394-4707-b9c5-1f32c1dac721" providerId="ADAL" clId="{A6316B8A-9F56-4FB1-9690-89C928692A73}" dt="2022-11-24T15:30:06.438" v="232" actId="680"/>
        <pc:sldMkLst>
          <pc:docMk/>
          <pc:sldMk cId="1508918415" sldId="2145704017"/>
        </pc:sldMkLst>
      </pc:sldChg>
      <pc:sldChg chg="new add del">
        <pc:chgData name="Anna Canellas Galceran" userId="f5c4d96c-b394-4707-b9c5-1f32c1dac721" providerId="ADAL" clId="{A6316B8A-9F56-4FB1-9690-89C928692A73}" dt="2022-11-24T15:29:02.644" v="227" actId="680"/>
        <pc:sldMkLst>
          <pc:docMk/>
          <pc:sldMk cId="2981941303" sldId="2145704017"/>
        </pc:sldMkLst>
      </pc:sldChg>
      <pc:sldMasterChg chg="modSldLayout">
        <pc:chgData name="Anna Canellas Galceran" userId="f5c4d96c-b394-4707-b9c5-1f32c1dac721" providerId="ADAL" clId="{A6316B8A-9F56-4FB1-9690-89C928692A73}" dt="2022-11-24T15:30:12.324" v="688"/>
        <pc:sldMasterMkLst>
          <pc:docMk/>
          <pc:sldMasterMk cId="2294188082" sldId="2147483648"/>
        </pc:sldMasterMkLst>
        <pc:sldLayoutChg chg="addSp delSp modSp mod setBg">
          <pc:chgData name="Anna Canellas Galceran" userId="f5c4d96c-b394-4707-b9c5-1f32c1dac721" providerId="ADAL" clId="{A6316B8A-9F56-4FB1-9690-89C928692A73}" dt="2022-11-24T15:30:12.324" v="688"/>
          <pc:sldLayoutMkLst>
            <pc:docMk/>
            <pc:sldMasterMk cId="2294188082" sldId="2147483648"/>
            <pc:sldLayoutMk cId="3721642046" sldId="2147483660"/>
          </pc:sldLayoutMkLst>
          <pc:spChg chg="mod">
            <ac:chgData name="Anna Canellas Galceran" userId="f5c4d96c-b394-4707-b9c5-1f32c1dac721" providerId="ADAL" clId="{A6316B8A-9F56-4FB1-9690-89C928692A73}" dt="2022-11-24T15:30:12.313" v="685" actId="948"/>
            <ac:spMkLst>
              <pc:docMk/>
              <pc:sldMasterMk cId="2294188082" sldId="2147483648"/>
              <pc:sldLayoutMk cId="3721642046" sldId="2147483660"/>
              <ac:spMk id="2" creationId="{00000000-0000-0000-0000-000000000000}"/>
            </ac:spMkLst>
          </pc:spChg>
          <pc:spChg chg="add del mod modVis">
            <ac:chgData name="Anna Canellas Galceran" userId="f5c4d96c-b394-4707-b9c5-1f32c1dac721" providerId="ADAL" clId="{A6316B8A-9F56-4FB1-9690-89C928692A73}" dt="2022-11-24T15:30:12.313" v="684" actId="962"/>
            <ac:spMkLst>
              <pc:docMk/>
              <pc:sldMasterMk cId="2294188082" sldId="2147483648"/>
              <pc:sldLayoutMk cId="3721642046" sldId="2147483660"/>
              <ac:spMk id="5" creationId="{805C995F-DA42-4877-8F4F-7B34D5900543}"/>
            </ac:spMkLst>
          </pc:spChg>
          <pc:graphicFrameChg chg="mod">
            <ac:chgData name="Anna Canellas Galceran" userId="f5c4d96c-b394-4707-b9c5-1f32c1dac721" providerId="ADAL" clId="{A6316B8A-9F56-4FB1-9690-89C928692A73}" dt="2022-11-24T15:30:12.324" v="688"/>
            <ac:graphicFrameMkLst>
              <pc:docMk/>
              <pc:sldMasterMk cId="2294188082" sldId="2147483648"/>
              <pc:sldLayoutMk cId="3721642046" sldId="2147483660"/>
              <ac:graphicFrameMk id="4" creationId="{929BCE3B-B4C0-4C43-89F4-6255D0D765B6}"/>
            </ac:graphicFrameMkLst>
          </pc:graphicFrameChg>
          <pc:picChg chg="add del">
            <ac:chgData name="Anna Canellas Galceran" userId="f5c4d96c-b394-4707-b9c5-1f32c1dac721" providerId="ADAL" clId="{A6316B8A-9F56-4FB1-9690-89C928692A73}" dt="2022-11-24T15:30:11.657" v="629" actId="478"/>
            <ac:picMkLst>
              <pc:docMk/>
              <pc:sldMasterMk cId="2294188082" sldId="2147483648"/>
              <pc:sldLayoutMk cId="3721642046" sldId="2147483660"/>
              <ac:picMk id="18" creationId="{A24A380E-DE48-48D5-B949-01EB9AD89E5A}"/>
            </ac:picMkLst>
          </pc:picChg>
        </pc:sldLayoutChg>
      </pc:sldMasterChg>
      <pc:sldMasterChg chg="modSldLayout">
        <pc:chgData name="Anna Canellas Galceran" userId="f5c4d96c-b394-4707-b9c5-1f32c1dac721" providerId="ADAL" clId="{A6316B8A-9F56-4FB1-9690-89C928692A73}" dt="2022-11-24T15:28:22.979" v="224"/>
        <pc:sldMasterMkLst>
          <pc:docMk/>
          <pc:sldMasterMk cId="3778681438" sldId="2147483661"/>
        </pc:sldMasterMkLst>
        <pc:sldLayoutChg chg="setBg">
          <pc:chgData name="Anna Canellas Galceran" userId="f5c4d96c-b394-4707-b9c5-1f32c1dac721" providerId="ADAL" clId="{A6316B8A-9F56-4FB1-9690-89C928692A73}" dt="2022-11-24T15:28:22.979" v="224"/>
          <pc:sldLayoutMkLst>
            <pc:docMk/>
            <pc:sldMasterMk cId="3778681438" sldId="2147483661"/>
            <pc:sldLayoutMk cId="1252040708" sldId="2147483668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585875-F9EE-4A5D-AF8F-DC461FD7F1A2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DC9432-E043-40F0-B4C3-ABC3FC440C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310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F6B86-A96C-4966-B413-A79057DDF3EE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635990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emf"/><Relationship Id="rId4" Type="http://schemas.openxmlformats.org/officeDocument/2006/relationships/image" Target="../media/image8.w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683F17-5D5B-42A0-B026-5569839E80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E51E984-9E5B-40AD-B85A-E4739AEC9F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0F4579-2D75-4228-949E-C52B4697C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F737B3-F482-4165-8FF2-D392CB5694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D7BBB5-01C0-4E00-A49B-EEE6D3B2B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2037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A0922A-D5B2-4509-AE24-468B8AC40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F496C61-7CB8-4708-9004-C6BCA0F205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AAF2B8-9413-4D80-A7F9-5F862901D5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314EF8-5998-485A-BF29-370337DB43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A159B4-F72C-4929-B089-40D0214A4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07906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C9F90E4-1ADC-4973-ADC8-C37FB04BDCB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3BBBAE-148A-4ABF-9C73-BD3131E099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8F6D2C-803A-4B9A-A38C-DE79FC996C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DA27E0-F3C2-4FA1-9670-7622747CE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9BE023-5385-40CA-A535-3F13A09DB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2480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9BCE3B-B4C0-4C43-89F4-6255D0D76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878172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9BCE3B-B4C0-4C43-89F4-6255D0D76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A98EA7-9C5C-4B5F-8808-31AA0D86E4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24A380E-DE48-48D5-B949-01EB9AD89E5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48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319579"/>
            <a:ext cx="10972800" cy="590400"/>
          </a:xfrm>
        </p:spPr>
        <p:txBody>
          <a:bodyPr anchor="ctr"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3" y="6296369"/>
            <a:ext cx="303055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918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918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918"/>
            </a:p>
          </p:txBody>
        </p:sp>
      </p:grpSp>
    </p:spTree>
    <p:extLst>
      <p:ext uri="{BB962C8B-B14F-4D97-AF65-F5344CB8AC3E}">
        <p14:creationId xmlns:p14="http://schemas.microsoft.com/office/powerpoint/2010/main" val="37216420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Standar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5371C36-7766-499F-B548-790B7709B4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35"/>
            <a:ext cx="12198348" cy="6861300"/>
          </a:xfrm>
          <a:prstGeom prst="rect">
            <a:avLst/>
          </a:prstGeom>
          <a:solidFill>
            <a:srgbClr val="2E2E38"/>
          </a:solidFill>
        </p:spPr>
      </p:pic>
      <p:grpSp>
        <p:nvGrpSpPr>
          <p:cNvPr id="16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3" y="6296369"/>
            <a:ext cx="303055" cy="311150"/>
            <a:chOff x="7110" y="4004"/>
            <a:chExt cx="191" cy="196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918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918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918"/>
            </a:p>
          </p:txBody>
        </p:sp>
      </p:grpSp>
    </p:spTree>
    <p:extLst>
      <p:ext uri="{BB962C8B-B14F-4D97-AF65-F5344CB8AC3E}">
        <p14:creationId xmlns:p14="http://schemas.microsoft.com/office/powerpoint/2010/main" val="38322605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197805-0689-4503-8125-F783F93171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52306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57BD8AAC-70C4-433E-BAA2-1A1AFBD71E3C}" type="datetime3">
              <a:rPr lang="en-US" smtClean="0"/>
              <a:t>24 November 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180DED-A206-48B8-8395-C38D75067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8748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84CBDA-5400-4C9D-A814-1CE6E3FD4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124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089277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52306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9459D6B7-FAA1-49A2-8BFA-449AB9376750}" type="datetime3">
              <a:rPr lang="en-US" smtClean="0"/>
              <a:t>24 November 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8748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124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022600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8" y="2851522"/>
            <a:ext cx="4445484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CF31FF-92C4-4CFE-89C8-231A1B4903B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52306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CADD9D7F-9B4D-4774-AFA3-BCF9232B0532}" type="datetime3">
              <a:rPr lang="en-US" smtClean="0"/>
              <a:t>24 November 2022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B72E31-AECD-4259-BF90-99398FE128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428748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E2F2A-9E13-4DC5-89FE-0719F2B171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484124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302596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2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F0A34-C36D-461B-A015-21A5DA63B5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52306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B8860E02-1003-4EAE-8667-0F1BC9077C64}" type="datetime3">
              <a:rPr lang="en-US" smtClean="0"/>
              <a:t>24 November 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ECF0E1-C505-48F8-AD92-7D8685FF4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8748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682A11-B39D-4FE0-A53D-0F1661DE0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124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74510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AA2DDE-136D-4BC3-9FD1-6661F6E5DCC8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7867" y="-1"/>
            <a:ext cx="5554133" cy="685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0825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03171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26267-D6CE-43C0-8E5D-762647BD7B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123B42-47A4-4BE1-802C-242416BA66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01FC0D-2C62-4895-9CB6-B1D3BDD365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0C99C-D30E-4701-AA43-75970CE1E5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03776-2C58-4241-8136-7BD4D4A8D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82937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04144DB2-DF78-46E2-B2E0-E8A0BA3FFC15}"/>
              </a:ext>
            </a:extLst>
          </p:cNvPr>
          <p:cNvGrpSpPr/>
          <p:nvPr userDrawn="1"/>
        </p:nvGrpSpPr>
        <p:grpSpPr>
          <a:xfrm>
            <a:off x="-700489" y="0"/>
            <a:ext cx="14509649" cy="6858000"/>
            <a:chOff x="-525367" y="0"/>
            <a:chExt cx="10882237" cy="68580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CA07267-72F5-463B-8BDC-5EBBE13540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1170431" y="0"/>
              <a:ext cx="9186439" cy="685800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488359A-15B8-4D16-8E2E-06DD4FC2D76E}"/>
                </a:ext>
              </a:extLst>
            </p:cNvPr>
            <p:cNvSpPr/>
            <p:nvPr userDrawn="1"/>
          </p:nvSpPr>
          <p:spPr>
            <a:xfrm>
              <a:off x="-525367" y="0"/>
              <a:ext cx="1932496" cy="6858000"/>
            </a:xfrm>
            <a:prstGeom prst="rect">
              <a:avLst/>
            </a:prstGeom>
            <a:gradFill flip="none" rotWithShape="1">
              <a:gsLst>
                <a:gs pos="87000">
                  <a:srgbClr val="D5DDE5"/>
                </a:gs>
                <a:gs pos="100000">
                  <a:srgbClr val="D5DDE5">
                    <a:alpha val="26000"/>
                  </a:srgbClr>
                </a:gs>
              </a:gsLst>
              <a:lin ang="0" scaled="1"/>
              <a:tileRect/>
            </a:gradFill>
            <a:ln w="9525" cmpd="sng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nl-BE" sz="1000" b="1"/>
            </a:p>
          </p:txBody>
        </p:sp>
      </p:grpSp>
      <p:sp>
        <p:nvSpPr>
          <p:cNvPr id="18" name="Freeform 5">
            <a:extLst>
              <a:ext uri="{FF2B5EF4-FFF2-40B4-BE49-F238E27FC236}">
                <a16:creationId xmlns:a16="http://schemas.microsoft.com/office/drawing/2014/main" id="{B58096A4-73F2-4B86-941A-972CEBFF3F1D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626739" y="582784"/>
            <a:ext cx="6009412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gradFill flip="none" rotWithShape="1">
            <a:gsLst>
              <a:gs pos="62000">
                <a:srgbClr val="D5DDE5">
                  <a:alpha val="89000"/>
                </a:srgbClr>
              </a:gs>
              <a:gs pos="0">
                <a:srgbClr val="D5DDE5"/>
              </a:gs>
              <a:gs pos="100000">
                <a:srgbClr val="D5DDE5">
                  <a:alpha val="0"/>
                </a:srgbClr>
              </a:gs>
            </a:gsLst>
            <a:lin ang="17400000" scaled="0"/>
            <a:tileRect/>
          </a:gra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6451607B-CAB5-4136-AB12-1BF3A1C448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1" y="457200"/>
            <a:ext cx="6205727" cy="39309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4BCCB2E-3515-42EB-B2C6-FB7D701D1793}"/>
              </a:ext>
            </a:extLst>
          </p:cNvPr>
          <p:cNvSpPr/>
          <p:nvPr userDrawn="1"/>
        </p:nvSpPr>
        <p:spPr>
          <a:xfrm>
            <a:off x="0" y="5340096"/>
            <a:ext cx="12192000" cy="1517904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61000">
                <a:schemeClr val="bg2">
                  <a:alpha val="34000"/>
                </a:schemeClr>
              </a:gs>
              <a:gs pos="100000">
                <a:schemeClr val="bg2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id="{01B1427F-F1DB-442D-870C-2543A78EC3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82624" y="1799130"/>
            <a:ext cx="479145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5" name="Subtitle 2">
            <a:extLst>
              <a:ext uri="{FF2B5EF4-FFF2-40B4-BE49-F238E27FC236}">
                <a16:creationId xmlns:a16="http://schemas.microsoft.com/office/drawing/2014/main" id="{97E0F9BC-39E2-4ADF-93B9-7358577711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82624" y="2769576"/>
            <a:ext cx="4791456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812DADE-75E4-4865-9A32-7469E540221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0481" y="5340096"/>
            <a:ext cx="1316736" cy="115696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012CF4B-E298-4530-99C5-10BE1B806C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5914517"/>
            <a:ext cx="504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040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58669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Picture 8" descr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6043"/>
            <a:ext cx="12192000" cy="6874044"/>
          </a:xfrm>
          <a:prstGeom prst="rect">
            <a:avLst/>
          </a:prstGeom>
          <a:ln w="12700">
            <a:miter lim="400000"/>
          </a:ln>
        </p:spPr>
      </p:pic>
      <p:sp>
        <p:nvSpPr>
          <p:cNvPr id="1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62675" y="6217857"/>
            <a:ext cx="274928" cy="276995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50907479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97714-2AA6-4325-8D70-44A1E259E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F236E3-85F8-4FC2-B671-466462B3F5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3A19A9-93F0-4756-9D0F-1BCD544C8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896C76-59DF-4E99-84CE-AD79247060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F6BBB5-B234-473E-99AF-671007EF3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0569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FB1C50-5E8E-4EAE-A35A-AFEF0D1ACC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97DD67-2E30-4ECF-AE88-121F6B9DA2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E1E883B-45B5-4544-857A-7526069C5D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7D2B36-DF85-4E92-A410-B53761ABDE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466133-9D70-4806-9FE1-78B62ACAF5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A5DDA1-0954-4626-A04C-AFF7CA431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5502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B36BAE-C60E-47E3-8415-C6930A964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6B5AF5-5B55-4CD1-9F60-B3279AF961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5D2BFF-26CF-4B80-99AB-631F0583FF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8420B3-0396-41A2-AC3E-FA15262097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42A611F-5943-4291-B23E-485D5FF433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7F4EC2F-B168-40A0-8A13-AEF1E5B7C2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FD2E983-D388-44F8-9EE2-CEEF3A60C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0C5C585-7035-450E-B5BB-8950D5BFD9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7906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08A91-F840-45F5-8AED-0364F4245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F28EC7-F11C-4212-8D5D-548FD42ED3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7CE051-A2BF-43CE-BF3B-A8F9CDB323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AA1A8C-FEF5-44CD-A11A-39B44ED5E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0211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812F6C-26BB-4DC3-8ACA-42CA10B50C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EB0DA5-6327-4E5B-90F2-BD714BA274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572319-F3D5-402D-B291-11915E3A5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082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AF3ACC-2467-4708-B5F5-FA254F0A5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041C82-D975-4910-9558-DFE3434007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D3C32B-0686-41C5-8859-BE10908D4D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CD36EC-AE72-43AB-9DA2-1FB55A79B5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9F61E4-5F31-479B-B39B-7FDCC33388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45721D-208E-4253-8B27-4520AEE32E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3890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60B509-71B8-4D76-A568-E929EEA0C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45B48B8-7F4F-41B0-A441-78F1033B546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EFC60E-1B4B-430C-BD66-7BF7932695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B4F4FF-4B02-492C-9793-E71FC638B6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E01703-A50B-472D-AD07-B8633A7FD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ABEAFF-C2ED-4ED9-A21A-8B56F4B8F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3716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1997E26-91A1-407A-919F-C426977A9B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98889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1997E26-91A1-407A-919F-C426977A9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0C4E4CE-1394-4BC7-82C5-AD7ABF65B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96D240-8273-4D61-96AE-7C11E184C4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CD2C32-5271-4A68-85CE-159835930C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EE1E52-AEE9-4AA3-8576-27FE4F78F5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08C55E-BEA4-4E0C-B777-317FBF5274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188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7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329C4C0-3259-4556-BEA6-8BD9B36397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7947257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329C4C0-3259-4556-BEA6-8BD9B36397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070143FB-B49A-43B9-BDD0-6B34F1305A6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045952" y="6327649"/>
            <a:ext cx="536448" cy="412867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9BF2560-A8D8-44C9-8115-BCB5085894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6D2A493-73F6-40BA-A4BE-DAEC44F3A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C09A7C37-C954-457F-B80C-7BC99BEAE3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698DAAA-4994-4582-AC33-04D121970AE6}"/>
              </a:ext>
            </a:extLst>
          </p:cNvPr>
          <p:cNvSpPr txBox="1"/>
          <p:nvPr userDrawn="1"/>
        </p:nvSpPr>
        <p:spPr>
          <a:xfrm>
            <a:off x="609602" y="6536188"/>
            <a:ext cx="1182623" cy="15465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fld id="{70606F86-CB08-42CF-8A21-5EC300726442}" type="slidenum">
              <a:rPr lang="nl-BE" sz="900" smtClean="0">
                <a:solidFill>
                  <a:schemeClr val="bg1"/>
                </a:solidFill>
              </a:rPr>
              <a:pPr marL="0" indent="0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buFont typeface="Arial" pitchFamily="34" charset="0"/>
                <a:buNone/>
              </a:pPr>
              <a:t>‹#›</a:t>
            </a:fld>
            <a:endParaRPr lang="nl-BE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681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</p:sldLayoutIdLst>
  <p:hf hd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1799" b="1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3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0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9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2.xml"/><Relationship Id="rId7" Type="http://schemas.microsoft.com/office/2007/relationships/hdphoto" Target="../media/hdphoto2.wdp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1.png"/><Relationship Id="rId11" Type="http://schemas.microsoft.com/office/2007/relationships/hdphoto" Target="../media/hdphoto4.wdp"/><Relationship Id="rId5" Type="http://schemas.openxmlformats.org/officeDocument/2006/relationships/image" Target="../media/image2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5.bin"/><Relationship Id="rId9" Type="http://schemas.microsoft.com/office/2007/relationships/hdphoto" Target="../media/hdphoto3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microsoft.com/office/2007/relationships/hdphoto" Target="../media/hdphoto5.wdp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5.xml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4867C-E5FD-4146-A167-9F9330AB71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3755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BD4867C-E5FD-4146-A167-9F9330AB7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09F7728C-BCA8-441D-923B-131A4E3642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45921" y="1799130"/>
            <a:ext cx="4680368" cy="860400"/>
          </a:xfrm>
        </p:spPr>
        <p:txBody>
          <a:bodyPr vert="horz"/>
          <a:lstStyle/>
          <a:p>
            <a:r>
              <a:rPr lang="en-GB" b="1" dirty="0">
                <a:solidFill>
                  <a:schemeClr val="bg1"/>
                </a:solidFill>
                <a:latin typeface="EYInterstate" panose="02000503020000020004" pitchFamily="2" charset="0"/>
              </a:rPr>
              <a:t>COMPANY EY HOUSES</a:t>
            </a:r>
            <a:br>
              <a:rPr lang="en-GB" b="1" dirty="0">
                <a:solidFill>
                  <a:schemeClr val="bg1"/>
                </a:solidFill>
                <a:latin typeface="EYInterstate" panose="02000503020000020004" pitchFamily="2" charset="0"/>
              </a:rPr>
            </a:br>
            <a:r>
              <a:rPr lang="en-GB" sz="2400" b="1" dirty="0" err="1">
                <a:solidFill>
                  <a:schemeClr val="bg1"/>
                </a:solidFill>
                <a:latin typeface="EYInterstate" panose="02000503020000020004" pitchFamily="2" charset="0"/>
              </a:rPr>
              <a:t>Predicción</a:t>
            </a:r>
            <a:r>
              <a:rPr lang="en-GB" sz="2400" b="1" dirty="0">
                <a:solidFill>
                  <a:schemeClr val="bg1"/>
                </a:solidFill>
                <a:latin typeface="EYInterstate" panose="02000503020000020004" pitchFamily="2" charset="0"/>
              </a:rPr>
              <a:t> del </a:t>
            </a:r>
            <a:r>
              <a:rPr lang="en-GB" sz="2400" b="1" dirty="0" err="1">
                <a:solidFill>
                  <a:schemeClr val="bg1"/>
                </a:solidFill>
                <a:latin typeface="EYInterstate" panose="02000503020000020004" pitchFamily="2" charset="0"/>
              </a:rPr>
              <a:t>precio</a:t>
            </a:r>
            <a:r>
              <a:rPr lang="en-GB" sz="2400" b="1" dirty="0">
                <a:solidFill>
                  <a:schemeClr val="bg1"/>
                </a:solidFill>
                <a:latin typeface="EYInterstate" panose="02000503020000020004" pitchFamily="2" charset="0"/>
              </a:rPr>
              <a:t> de las </a:t>
            </a:r>
            <a:r>
              <a:rPr lang="en-GB" sz="2400" b="1" dirty="0" err="1">
                <a:solidFill>
                  <a:schemeClr val="bg1"/>
                </a:solidFill>
                <a:latin typeface="EYInterstate" panose="02000503020000020004" pitchFamily="2" charset="0"/>
              </a:rPr>
              <a:t>viviendas</a:t>
            </a:r>
            <a:endParaRPr lang="en-GB" b="1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F293AE5-2904-42E3-B796-64A10C1D6C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63187" y="2966177"/>
            <a:ext cx="3593592" cy="645742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EY Proposal</a:t>
            </a:r>
          </a:p>
          <a:p>
            <a:r>
              <a:rPr lang="en-GB" dirty="0">
                <a:solidFill>
                  <a:schemeClr val="bg1"/>
                </a:solidFill>
              </a:rPr>
              <a:t>24 Nov, 2022</a:t>
            </a:r>
          </a:p>
        </p:txBody>
      </p:sp>
    </p:spTree>
    <p:extLst>
      <p:ext uri="{BB962C8B-B14F-4D97-AF65-F5344CB8AC3E}">
        <p14:creationId xmlns:p14="http://schemas.microsoft.com/office/powerpoint/2010/main" val="2229874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E089044-EE34-4D4D-A510-E3D82E671A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8641588"/>
              </p:ext>
            </p:ext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E089044-EE34-4D4D-A510-E3D82E671A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3D2D8EC-9016-4D30-ACC6-999E7846343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 defTabSz="913943">
              <a:defRPr/>
            </a:pPr>
            <a:endParaRPr lang="es-ES" sz="2399" dirty="0">
              <a:solidFill>
                <a:srgbClr val="2E2E38"/>
              </a:solidFill>
              <a:latin typeface="EYInterstate Light" panose="02000506000000020004" pitchFamily="2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C8417E14-2899-44BD-A478-0553073E7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394" y="155764"/>
            <a:ext cx="9313744" cy="590093"/>
          </a:xfrm>
        </p:spPr>
        <p:txBody>
          <a:bodyPr vert="horz"/>
          <a:lstStyle/>
          <a:p>
            <a:r>
              <a:rPr lang="es-ES" dirty="0">
                <a:latin typeface="EYInterstate" panose="02000503020000020004" pitchFamily="2" charset="0"/>
              </a:rPr>
              <a:t>Equipo</a:t>
            </a:r>
          </a:p>
        </p:txBody>
      </p:sp>
      <p:sp>
        <p:nvSpPr>
          <p:cNvPr id="50" name="Google Shape;1326;p37">
            <a:extLst>
              <a:ext uri="{FF2B5EF4-FFF2-40B4-BE49-F238E27FC236}">
                <a16:creationId xmlns:a16="http://schemas.microsoft.com/office/drawing/2014/main" id="{456079F8-83A2-4F4D-A134-F909479AB3CF}"/>
              </a:ext>
            </a:extLst>
          </p:cNvPr>
          <p:cNvSpPr/>
          <p:nvPr/>
        </p:nvSpPr>
        <p:spPr>
          <a:xfrm>
            <a:off x="615883" y="745857"/>
            <a:ext cx="3232637" cy="5879759"/>
          </a:xfrm>
          <a:prstGeom prst="rect">
            <a:avLst/>
          </a:prstGeom>
          <a:solidFill>
            <a:srgbClr val="222229"/>
          </a:solidFill>
          <a:ln w="12700" cap="flat" cmpd="sng">
            <a:solidFill>
              <a:schemeClr val="lt1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81857" tIns="40929" rIns="81857" bIns="40929" anchor="ctr" anchorCtr="0">
            <a:noAutofit/>
          </a:bodyPr>
          <a:lstStyle/>
          <a:p>
            <a:pPr defTabSz="913943">
              <a:defRPr/>
            </a:pPr>
            <a:endParaRPr sz="1999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1328;p37">
            <a:extLst>
              <a:ext uri="{FF2B5EF4-FFF2-40B4-BE49-F238E27FC236}">
                <a16:creationId xmlns:a16="http://schemas.microsoft.com/office/drawing/2014/main" id="{5D43EB58-2933-4C24-8B9A-8AAF55577549}"/>
              </a:ext>
            </a:extLst>
          </p:cNvPr>
          <p:cNvSpPr/>
          <p:nvPr/>
        </p:nvSpPr>
        <p:spPr>
          <a:xfrm>
            <a:off x="1057276" y="3838251"/>
            <a:ext cx="227611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47589" lvl="1" indent="-146402" defTabSz="913943">
              <a:buClr>
                <a:srgbClr val="FFE600"/>
              </a:buClr>
              <a:buSzPts val="1350"/>
              <a:buFont typeface="Inter"/>
              <a:buChar char="•"/>
              <a:defRPr/>
            </a:pPr>
            <a:endParaRPr sz="1400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53" name="Google Shape;1329;p37">
            <a:extLst>
              <a:ext uri="{FF2B5EF4-FFF2-40B4-BE49-F238E27FC236}">
                <a16:creationId xmlns:a16="http://schemas.microsoft.com/office/drawing/2014/main" id="{E4F434FE-2019-40CE-A0E0-11F2C0EBBB94}"/>
              </a:ext>
            </a:extLst>
          </p:cNvPr>
          <p:cNvSpPr/>
          <p:nvPr/>
        </p:nvSpPr>
        <p:spPr>
          <a:xfrm>
            <a:off x="1596307" y="3132197"/>
            <a:ext cx="1710840" cy="307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913943">
              <a:defRPr/>
            </a:pPr>
            <a:r>
              <a:rPr lang="es-ES" sz="1999" b="1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periencia</a:t>
            </a:r>
            <a:endParaRPr sz="1799" dirty="0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59" name="Google Shape;1335;p37">
            <a:extLst>
              <a:ext uri="{FF2B5EF4-FFF2-40B4-BE49-F238E27FC236}">
                <a16:creationId xmlns:a16="http://schemas.microsoft.com/office/drawing/2014/main" id="{2CFDA3C3-365B-40D8-9B14-81876ACCAB52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79" b="2579"/>
          <a:stretch/>
        </p:blipFill>
        <p:spPr>
          <a:xfrm>
            <a:off x="1662701" y="1380701"/>
            <a:ext cx="1061747" cy="1006991"/>
          </a:xfrm>
          <a:prstGeom prst="ellipse">
            <a:avLst/>
          </a:prstGeom>
          <a:noFill/>
          <a:ln w="38100" cap="flat" cmpd="sng">
            <a:solidFill>
              <a:srgbClr val="FFE600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60" name="Google Shape;1336;p37">
            <a:extLst>
              <a:ext uri="{FF2B5EF4-FFF2-40B4-BE49-F238E27FC236}">
                <a16:creationId xmlns:a16="http://schemas.microsoft.com/office/drawing/2014/main" id="{2742EA14-6564-47BF-9D60-4524F5A6C5DA}"/>
              </a:ext>
            </a:extLst>
          </p:cNvPr>
          <p:cNvSpPr/>
          <p:nvPr/>
        </p:nvSpPr>
        <p:spPr>
          <a:xfrm>
            <a:off x="1131011" y="2551149"/>
            <a:ext cx="2176136" cy="1061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9129" tIns="44552" rIns="89129" bIns="44552" anchor="t" anchorCtr="0">
            <a:noAutofit/>
          </a:bodyPr>
          <a:lstStyle/>
          <a:p>
            <a:pPr algn="ctr" defTabSz="913943">
              <a:defRPr/>
            </a:pPr>
            <a:r>
              <a:rPr lang="es-ES_tradnl" sz="1050" b="1" i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Anna </a:t>
            </a:r>
            <a:r>
              <a:rPr lang="es-ES_tradnl" sz="1050" b="1" i="1" dirty="0" err="1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Canellas</a:t>
            </a:r>
            <a:endParaRPr sz="2000" dirty="0">
              <a:solidFill>
                <a:srgbClr val="2E2E38"/>
              </a:solidFill>
              <a:latin typeface="EYInterstate Light"/>
            </a:endParaRPr>
          </a:p>
          <a:p>
            <a:pPr algn="ctr" defTabSz="913943">
              <a:defRPr/>
            </a:pPr>
            <a:r>
              <a:rPr lang="es-ES" sz="1050" b="1" i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Data </a:t>
            </a:r>
            <a:r>
              <a:rPr lang="es-ES" sz="1050" b="1" i="1" dirty="0" err="1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analyst</a:t>
            </a:r>
            <a:endParaRPr sz="2000" dirty="0">
              <a:solidFill>
                <a:srgbClr val="2E2E38"/>
              </a:solidFill>
              <a:latin typeface="EYInterstate Light"/>
            </a:endParaRPr>
          </a:p>
          <a:p>
            <a:pPr algn="ctr" defTabSz="913943">
              <a:defRPr/>
            </a:pPr>
            <a:endParaRPr sz="900" b="1" i="1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3943">
              <a:defRPr/>
            </a:pPr>
            <a:endParaRPr sz="1199" b="1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3943">
              <a:defRPr/>
            </a:pPr>
            <a:endParaRPr sz="999" b="1" i="1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35" name="Google Shape;1326;p37">
            <a:extLst>
              <a:ext uri="{FF2B5EF4-FFF2-40B4-BE49-F238E27FC236}">
                <a16:creationId xmlns:a16="http://schemas.microsoft.com/office/drawing/2014/main" id="{DD0603EE-49C9-4F03-BD29-591DFAC91A1A}"/>
              </a:ext>
            </a:extLst>
          </p:cNvPr>
          <p:cNvSpPr/>
          <p:nvPr/>
        </p:nvSpPr>
        <p:spPr>
          <a:xfrm>
            <a:off x="4534619" y="745857"/>
            <a:ext cx="3231117" cy="5879759"/>
          </a:xfrm>
          <a:prstGeom prst="rect">
            <a:avLst/>
          </a:prstGeom>
          <a:solidFill>
            <a:srgbClr val="222229"/>
          </a:solidFill>
          <a:ln w="12700" cap="flat" cmpd="sng">
            <a:solidFill>
              <a:schemeClr val="lt1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81857" tIns="40929" rIns="81857" bIns="40929" anchor="ctr" anchorCtr="0">
            <a:noAutofit/>
          </a:bodyPr>
          <a:lstStyle/>
          <a:p>
            <a:pPr defTabSz="913943">
              <a:defRPr/>
            </a:pPr>
            <a:endParaRPr sz="1999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1326;p37">
            <a:extLst>
              <a:ext uri="{FF2B5EF4-FFF2-40B4-BE49-F238E27FC236}">
                <a16:creationId xmlns:a16="http://schemas.microsoft.com/office/drawing/2014/main" id="{24E5891D-00D9-4647-8394-994CDE55BFC6}"/>
              </a:ext>
            </a:extLst>
          </p:cNvPr>
          <p:cNvSpPr/>
          <p:nvPr/>
        </p:nvSpPr>
        <p:spPr>
          <a:xfrm>
            <a:off x="8451837" y="745857"/>
            <a:ext cx="3231117" cy="5879759"/>
          </a:xfrm>
          <a:prstGeom prst="rect">
            <a:avLst/>
          </a:prstGeom>
          <a:solidFill>
            <a:srgbClr val="222229"/>
          </a:solidFill>
          <a:ln w="12700" cap="flat" cmpd="sng">
            <a:solidFill>
              <a:schemeClr val="lt1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81857" tIns="40929" rIns="81857" bIns="40929" anchor="ctr" anchorCtr="0">
            <a:noAutofit/>
          </a:bodyPr>
          <a:lstStyle/>
          <a:p>
            <a:endParaRPr sz="1999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0" name="Google Shape;1335;p37">
            <a:extLst>
              <a:ext uri="{FF2B5EF4-FFF2-40B4-BE49-F238E27FC236}">
                <a16:creationId xmlns:a16="http://schemas.microsoft.com/office/drawing/2014/main" id="{527F993F-7A46-4CC4-BF9D-E68313A34865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981" r="7981"/>
          <a:stretch/>
        </p:blipFill>
        <p:spPr>
          <a:xfrm>
            <a:off x="5544106" y="1414778"/>
            <a:ext cx="1061747" cy="1006991"/>
          </a:xfrm>
          <a:prstGeom prst="ellipse">
            <a:avLst/>
          </a:prstGeom>
          <a:noFill/>
          <a:ln w="38100" cap="flat" cmpd="sng">
            <a:solidFill>
              <a:srgbClr val="FFE600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7" name="Google Shape;1333;p37">
            <a:extLst>
              <a:ext uri="{FF2B5EF4-FFF2-40B4-BE49-F238E27FC236}">
                <a16:creationId xmlns:a16="http://schemas.microsoft.com/office/drawing/2014/main" id="{987E5C66-F559-48A2-BF67-E53EF9334157}"/>
              </a:ext>
            </a:extLst>
          </p:cNvPr>
          <p:cNvSpPr/>
          <p:nvPr/>
        </p:nvSpPr>
        <p:spPr>
          <a:xfrm>
            <a:off x="5494047" y="3143580"/>
            <a:ext cx="2061929" cy="307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913943">
              <a:defRPr/>
            </a:pPr>
            <a:r>
              <a:rPr lang="es-ES" sz="1999" b="1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periencia</a:t>
            </a:r>
            <a:endParaRPr sz="1799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37" name="Google Shape;1327;p37">
            <a:extLst>
              <a:ext uri="{FF2B5EF4-FFF2-40B4-BE49-F238E27FC236}">
                <a16:creationId xmlns:a16="http://schemas.microsoft.com/office/drawing/2014/main" id="{8E3FE250-D42C-40EC-AE4F-6DF085C063D7}"/>
              </a:ext>
            </a:extLst>
          </p:cNvPr>
          <p:cNvSpPr/>
          <p:nvPr/>
        </p:nvSpPr>
        <p:spPr>
          <a:xfrm>
            <a:off x="5048634" y="2548110"/>
            <a:ext cx="2082981" cy="1061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9129" tIns="44552" rIns="89129" bIns="44552" anchor="t" anchorCtr="0">
            <a:noAutofit/>
          </a:bodyPr>
          <a:lstStyle/>
          <a:p>
            <a:pPr algn="ctr" defTabSz="913943">
              <a:defRPr/>
            </a:pPr>
            <a:r>
              <a:rPr lang="es-ES" sz="1050" b="1" i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Anna Casanovas</a:t>
            </a:r>
            <a:endParaRPr sz="2000" dirty="0">
              <a:solidFill>
                <a:srgbClr val="2E2E38"/>
              </a:solidFill>
              <a:latin typeface="EYInterstate Light"/>
            </a:endParaRPr>
          </a:p>
          <a:p>
            <a:pPr algn="ctr" defTabSz="913943">
              <a:defRPr/>
            </a:pPr>
            <a:r>
              <a:rPr lang="es-ES" sz="1050" b="1" i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Data </a:t>
            </a:r>
            <a:r>
              <a:rPr lang="es-ES" sz="1050" b="1" i="1" dirty="0" err="1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analyst</a:t>
            </a:r>
            <a:endParaRPr lang="es-ES" sz="2000" dirty="0">
              <a:solidFill>
                <a:srgbClr val="2E2E38"/>
              </a:solidFill>
              <a:latin typeface="EYInterstate Light"/>
            </a:endParaRPr>
          </a:p>
          <a:p>
            <a:pPr algn="ctr" defTabSz="913943">
              <a:defRPr/>
            </a:pPr>
            <a:endParaRPr lang="es-ES" sz="900" dirty="0">
              <a:solidFill>
                <a:srgbClr val="2E2E38"/>
              </a:solidFill>
              <a:latin typeface="EYInterstate Light"/>
            </a:endParaRPr>
          </a:p>
          <a:p>
            <a:pPr algn="ctr" defTabSz="913943">
              <a:defRPr/>
            </a:pPr>
            <a:endParaRPr sz="900" b="1" i="1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3943">
              <a:defRPr/>
            </a:pPr>
            <a:endParaRPr sz="1199" b="1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3943">
              <a:defRPr/>
            </a:pPr>
            <a:endParaRPr sz="999" b="1" i="1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58" name="Google Shape;1334;p37">
            <a:extLst>
              <a:ext uri="{FF2B5EF4-FFF2-40B4-BE49-F238E27FC236}">
                <a16:creationId xmlns:a16="http://schemas.microsoft.com/office/drawing/2014/main" id="{3762C6E8-9004-46AB-8993-C50B94ABF965}"/>
              </a:ext>
            </a:extLst>
          </p:cNvPr>
          <p:cNvSpPr/>
          <p:nvPr/>
        </p:nvSpPr>
        <p:spPr>
          <a:xfrm>
            <a:off x="4987266" y="3780638"/>
            <a:ext cx="2362040" cy="150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47589" lvl="1" indent="-146402" defTabSz="913943"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perta en SQL</a:t>
            </a:r>
          </a:p>
          <a:p>
            <a:pPr marL="147589" lvl="1" indent="-146402" defTabSz="913943"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periencia en data </a:t>
            </a:r>
            <a:r>
              <a:rPr lang="es-ES_tradnl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traction</a:t>
            </a: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  and </a:t>
            </a:r>
            <a:r>
              <a:rPr lang="es-ES_tradnl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manipulation</a:t>
            </a:r>
            <a:endParaRPr lang="es-ES_tradnl" sz="1400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  <a:p>
            <a:pPr marL="147589" lvl="1" indent="-146402" defTabSz="913943"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_tradnl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Stadistics</a:t>
            </a: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 and machine </a:t>
            </a:r>
            <a:r>
              <a:rPr lang="es-ES_tradnl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learning</a:t>
            </a: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 </a:t>
            </a:r>
            <a:r>
              <a:rPr lang="es-ES_tradnl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pert</a:t>
            </a:r>
            <a:endParaRPr lang="es-ES_tradnl" sz="1400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  <a:p>
            <a:pPr marL="147589" lvl="1" indent="-146402" defTabSz="913943">
              <a:buClr>
                <a:srgbClr val="FFE600"/>
              </a:buClr>
              <a:buSzPts val="1350"/>
              <a:buFont typeface="Inter"/>
              <a:buChar char="•"/>
              <a:defRPr/>
            </a:pPr>
            <a:endParaRPr lang="es-ES_tradnl" sz="1400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  <a:p>
            <a:pPr marL="147589" lvl="1" indent="-146402" defTabSz="913943">
              <a:buClr>
                <a:srgbClr val="FFE600"/>
              </a:buClr>
              <a:buSzPts val="1350"/>
              <a:buFont typeface="Inter"/>
              <a:buChar char="•"/>
              <a:defRPr/>
            </a:pPr>
            <a:endParaRPr sz="1400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51" name="Google Shape;1327;p37">
            <a:extLst>
              <a:ext uri="{FF2B5EF4-FFF2-40B4-BE49-F238E27FC236}">
                <a16:creationId xmlns:a16="http://schemas.microsoft.com/office/drawing/2014/main" id="{80B0177E-D583-4F61-9C86-2889A42B4E15}"/>
              </a:ext>
            </a:extLst>
          </p:cNvPr>
          <p:cNvSpPr/>
          <p:nvPr/>
        </p:nvSpPr>
        <p:spPr>
          <a:xfrm>
            <a:off x="9021551" y="2530165"/>
            <a:ext cx="2082981" cy="1061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9129" tIns="44552" rIns="89129" bIns="44552" anchor="t" anchorCtr="0">
            <a:noAutofit/>
          </a:bodyPr>
          <a:lstStyle/>
          <a:p>
            <a:pPr algn="ctr" defTabSz="913943">
              <a:defRPr/>
            </a:pPr>
            <a:r>
              <a:rPr lang="es-ES_tradnl" sz="1050" b="1" i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Jack Nye</a:t>
            </a:r>
            <a:endParaRPr sz="2000" dirty="0">
              <a:solidFill>
                <a:srgbClr val="2E2E38"/>
              </a:solidFill>
              <a:latin typeface="EYInterstate Light"/>
            </a:endParaRPr>
          </a:p>
          <a:p>
            <a:pPr algn="ctr" defTabSz="913943">
              <a:defRPr/>
            </a:pPr>
            <a:r>
              <a:rPr lang="es-ES" sz="1050" b="1" i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Real </a:t>
            </a:r>
            <a:r>
              <a:rPr lang="es-ES" sz="1050" b="1" i="1" dirty="0" err="1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state</a:t>
            </a:r>
            <a:r>
              <a:rPr lang="es-ES" sz="1050" b="1" i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s-ES" sz="1050" b="1" i="1" dirty="0" err="1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agent</a:t>
            </a:r>
            <a:endParaRPr lang="es-ES" sz="2000" dirty="0">
              <a:solidFill>
                <a:srgbClr val="2E2E38"/>
              </a:solidFill>
              <a:latin typeface="EYInterstate Light"/>
            </a:endParaRPr>
          </a:p>
          <a:p>
            <a:pPr algn="ctr" defTabSz="913943">
              <a:defRPr/>
            </a:pPr>
            <a:endParaRPr lang="es-ES" sz="900" dirty="0">
              <a:solidFill>
                <a:srgbClr val="2E2E38"/>
              </a:solidFill>
              <a:latin typeface="EYInterstate Light"/>
            </a:endParaRPr>
          </a:p>
          <a:p>
            <a:pPr algn="ctr" defTabSz="913943">
              <a:defRPr/>
            </a:pPr>
            <a:endParaRPr sz="1199" b="1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3943">
              <a:defRPr/>
            </a:pPr>
            <a:endParaRPr sz="999" b="1" i="1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38" name="Google Shape;1333;p37">
            <a:extLst>
              <a:ext uri="{FF2B5EF4-FFF2-40B4-BE49-F238E27FC236}">
                <a16:creationId xmlns:a16="http://schemas.microsoft.com/office/drawing/2014/main" id="{7606A703-BA36-4C7E-853A-47F2DC19439C}"/>
              </a:ext>
            </a:extLst>
          </p:cNvPr>
          <p:cNvSpPr/>
          <p:nvPr/>
        </p:nvSpPr>
        <p:spPr>
          <a:xfrm>
            <a:off x="9498222" y="3125637"/>
            <a:ext cx="2061929" cy="307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913943">
              <a:defRPr/>
            </a:pPr>
            <a:r>
              <a:rPr lang="es-ES" sz="1999" b="1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periencia</a:t>
            </a:r>
            <a:endParaRPr sz="1799" dirty="0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55" name="Google Shape;1331;p37">
            <a:extLst>
              <a:ext uri="{FF2B5EF4-FFF2-40B4-BE49-F238E27FC236}">
                <a16:creationId xmlns:a16="http://schemas.microsoft.com/office/drawing/2014/main" id="{08AC2E76-D361-4224-95F9-2411BA1209F6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32" b="1832"/>
          <a:stretch/>
        </p:blipFill>
        <p:spPr>
          <a:xfrm>
            <a:off x="9563951" y="1396835"/>
            <a:ext cx="998180" cy="961603"/>
          </a:xfrm>
          <a:prstGeom prst="ellipse">
            <a:avLst/>
          </a:prstGeom>
          <a:noFill/>
          <a:ln w="38100" cap="flat" cmpd="sng">
            <a:solidFill>
              <a:srgbClr val="FFE600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9" name="Google Shape;1334;p37">
            <a:extLst>
              <a:ext uri="{FF2B5EF4-FFF2-40B4-BE49-F238E27FC236}">
                <a16:creationId xmlns:a16="http://schemas.microsoft.com/office/drawing/2014/main" id="{D9294CEB-29BD-4731-BF88-A3355102A3EE}"/>
              </a:ext>
            </a:extLst>
          </p:cNvPr>
          <p:cNvSpPr/>
          <p:nvPr/>
        </p:nvSpPr>
        <p:spPr>
          <a:xfrm>
            <a:off x="8933524" y="3785794"/>
            <a:ext cx="2494956" cy="1559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47589" lvl="1" indent="-146402"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" sz="1400" dirty="0">
                <a:solidFill>
                  <a:srgbClr val="FFFFFF"/>
                </a:solidFill>
                <a:latin typeface="Inter"/>
                <a:sym typeface="Inter"/>
              </a:rPr>
              <a:t>Técnicas </a:t>
            </a:r>
            <a:r>
              <a:rPr lang="es-ES" sz="1400" dirty="0">
                <a:solidFill>
                  <a:srgbClr val="FFFFFF"/>
                </a:solidFill>
                <a:latin typeface="Inter"/>
              </a:rPr>
              <a:t>de investigación cualitativa y cuantitativa</a:t>
            </a:r>
            <a:r>
              <a:rPr lang="en-US" sz="1400" dirty="0">
                <a:solidFill>
                  <a:srgbClr val="FFFFFF"/>
                </a:solidFill>
                <a:latin typeface="Inter"/>
              </a:rPr>
              <a:t>​</a:t>
            </a:r>
            <a:endParaRPr lang="es-ES" sz="1400" dirty="0">
              <a:solidFill>
                <a:srgbClr val="2E2E38"/>
              </a:solidFill>
              <a:latin typeface="EYInterstate Light"/>
            </a:endParaRPr>
          </a:p>
          <a:p>
            <a:pPr marL="147589" lvl="1" indent="-146402" defTabSz="913943">
              <a:spcBef>
                <a:spcPts val="180"/>
              </a:spcBef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strategia de transformación “</a:t>
            </a:r>
            <a:r>
              <a:rPr lang="es-ES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Customer</a:t>
            </a:r>
            <a:r>
              <a:rPr lang="es-ES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 - </a:t>
            </a:r>
            <a:r>
              <a:rPr lang="es-ES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Centric</a:t>
            </a:r>
            <a:r>
              <a:rPr lang="es-ES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 ”</a:t>
            </a:r>
          </a:p>
          <a:p>
            <a:pPr marL="147589" lvl="1" indent="-146402" defTabSz="913943">
              <a:spcBef>
                <a:spcPts val="180"/>
              </a:spcBef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" sz="1400" dirty="0">
                <a:solidFill>
                  <a:srgbClr val="FFFFFF"/>
                </a:solidFill>
                <a:latin typeface="Inter"/>
                <a:sym typeface="Inter"/>
              </a:rPr>
              <a:t>Más de 10 años de experiencia en venta de viviendas de lujo</a:t>
            </a:r>
            <a:endParaRPr lang="es-ES" sz="1400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25" name="Google Shape;1334;p37">
            <a:extLst>
              <a:ext uri="{FF2B5EF4-FFF2-40B4-BE49-F238E27FC236}">
                <a16:creationId xmlns:a16="http://schemas.microsoft.com/office/drawing/2014/main" id="{365CC80E-2CB9-49A3-B36A-CE3BE1B9C916}"/>
              </a:ext>
            </a:extLst>
          </p:cNvPr>
          <p:cNvSpPr/>
          <p:nvPr/>
        </p:nvSpPr>
        <p:spPr>
          <a:xfrm>
            <a:off x="679902" y="3591997"/>
            <a:ext cx="2915786" cy="16106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604789" lvl="2" indent="-146402" defTabSz="913943">
              <a:spcBef>
                <a:spcPts val="180"/>
              </a:spcBef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periencia en data </a:t>
            </a:r>
            <a:r>
              <a:rPr lang="es-ES_tradnl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traction</a:t>
            </a: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  and </a:t>
            </a:r>
            <a:r>
              <a:rPr lang="es-ES_tradnl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manipulation</a:t>
            </a:r>
            <a:endParaRPr lang="es-ES_tradnl" sz="1400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  <a:p>
            <a:pPr marL="604789" lvl="2" indent="-146402" defTabSz="913943">
              <a:spcBef>
                <a:spcPts val="180"/>
              </a:spcBef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Online </a:t>
            </a:r>
            <a:r>
              <a:rPr lang="es-ES_tradnl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analytics</a:t>
            </a:r>
            <a:endParaRPr lang="es-ES_tradnl" sz="1400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  <a:p>
            <a:pPr marL="604789" lvl="2" indent="-146402" defTabSz="913943">
              <a:spcBef>
                <a:spcPts val="180"/>
              </a:spcBef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Analista con más de 5 años de experiencia en el sector inmobiliario</a:t>
            </a:r>
          </a:p>
          <a:p>
            <a:pPr marL="604789" lvl="2" indent="-146402" defTabSz="913943">
              <a:spcBef>
                <a:spcPts val="180"/>
              </a:spcBef>
              <a:buClr>
                <a:srgbClr val="FFE600"/>
              </a:buClr>
              <a:buSzPts val="1350"/>
              <a:buFont typeface="Inter"/>
              <a:buChar char="•"/>
              <a:defRPr/>
            </a:pPr>
            <a:endParaRPr sz="1400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</p:txBody>
      </p:sp>
    </p:spTree>
    <p:extLst>
      <p:ext uri="{BB962C8B-B14F-4D97-AF65-F5344CB8AC3E}">
        <p14:creationId xmlns:p14="http://schemas.microsoft.com/office/powerpoint/2010/main" val="1521997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5B9B147-C1E4-4E78-A714-E6B4AD6F85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549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5B9B147-C1E4-4E78-A714-E6B4AD6F85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>
            <a:extLst>
              <a:ext uri="{FF2B5EF4-FFF2-40B4-BE49-F238E27FC236}">
                <a16:creationId xmlns:a16="http://schemas.microsoft.com/office/drawing/2014/main" id="{FB9A5A9C-3F28-4F60-84D3-45E69DD9048C}"/>
              </a:ext>
            </a:extLst>
          </p:cNvPr>
          <p:cNvGrpSpPr/>
          <p:nvPr/>
        </p:nvGrpSpPr>
        <p:grpSpPr>
          <a:xfrm>
            <a:off x="609603" y="2013675"/>
            <a:ext cx="5272088" cy="2400657"/>
            <a:chOff x="742950" y="2013675"/>
            <a:chExt cx="5272088" cy="2400657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A3B6964-5A9C-4CC2-8824-F12BC1C095BA}"/>
                </a:ext>
              </a:extLst>
            </p:cNvPr>
            <p:cNvSpPr txBox="1"/>
            <p:nvPr/>
          </p:nvSpPr>
          <p:spPr>
            <a:xfrm>
              <a:off x="2300288" y="2336840"/>
              <a:ext cx="37147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Identificar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variables que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puedan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ser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significativas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en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el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precio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de las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viviendas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de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más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valor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A42449B-BE33-4BAA-BBDD-D982F82446C3}"/>
                </a:ext>
              </a:extLst>
            </p:cNvPr>
            <p:cNvSpPr txBox="1"/>
            <p:nvPr/>
          </p:nvSpPr>
          <p:spPr>
            <a:xfrm>
              <a:off x="742950" y="2013675"/>
              <a:ext cx="2400300" cy="24006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0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1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7D65C63-3170-4422-8FE2-21A4AAEAC54F}"/>
              </a:ext>
            </a:extLst>
          </p:cNvPr>
          <p:cNvGrpSpPr/>
          <p:nvPr/>
        </p:nvGrpSpPr>
        <p:grpSpPr>
          <a:xfrm>
            <a:off x="6210303" y="2013675"/>
            <a:ext cx="5081588" cy="2400657"/>
            <a:chOff x="6343650" y="2013675"/>
            <a:chExt cx="5081588" cy="240065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E60172E-4BC4-4D42-8C5A-E793EE7486D3}"/>
                </a:ext>
              </a:extLst>
            </p:cNvPr>
            <p:cNvSpPr txBox="1"/>
            <p:nvPr/>
          </p:nvSpPr>
          <p:spPr>
            <a:xfrm>
              <a:off x="7900988" y="2475339"/>
              <a:ext cx="35242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Crear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un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modelo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de machine learning con la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finalidad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de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predecir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el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precio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de las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viviendas</a:t>
              </a:r>
              <a:endParaRPr lang="en-US" sz="2400" dirty="0">
                <a:solidFill>
                  <a:schemeClr val="bg1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65759AD-34E6-4EDC-A089-073F67091B68}"/>
                </a:ext>
              </a:extLst>
            </p:cNvPr>
            <p:cNvSpPr txBox="1"/>
            <p:nvPr/>
          </p:nvSpPr>
          <p:spPr>
            <a:xfrm>
              <a:off x="6343650" y="2013675"/>
              <a:ext cx="2400300" cy="24006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0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2</a:t>
              </a:r>
            </a:p>
          </p:txBody>
        </p: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A8E6B53A-33E9-4D3C-ACE7-976C07F211EE}"/>
              </a:ext>
            </a:extLst>
          </p:cNvPr>
          <p:cNvSpPr txBox="1">
            <a:spLocks/>
          </p:cNvSpPr>
          <p:nvPr/>
        </p:nvSpPr>
        <p:spPr>
          <a:xfrm>
            <a:off x="330394" y="155764"/>
            <a:ext cx="9313744" cy="5900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b="1" dirty="0">
                <a:latin typeface="EYInterstate" panose="02000503020000020004" pitchFamily="2" charset="0"/>
              </a:rPr>
              <a:t>Se nos plantean 2 objetivos principales</a:t>
            </a:r>
          </a:p>
        </p:txBody>
      </p:sp>
    </p:spTree>
    <p:extLst>
      <p:ext uri="{BB962C8B-B14F-4D97-AF65-F5344CB8AC3E}">
        <p14:creationId xmlns:p14="http://schemas.microsoft.com/office/powerpoint/2010/main" val="15754208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EC931B-5F89-4F12-9473-55C013C273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1124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EC931B-5F89-4F12-9473-55C013C273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F2E0AD77-1EA8-483B-B5AF-1CFEF7024D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0099" y="3016229"/>
            <a:ext cx="1682836" cy="8255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91DF5FF-5D69-408D-9AE3-3852703D95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06684" y="882910"/>
            <a:ext cx="7249213" cy="561504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44B9FD9C-9B03-4D31-A738-44300A2E360F}"/>
              </a:ext>
            </a:extLst>
          </p:cNvPr>
          <p:cNvSpPr txBox="1">
            <a:spLocks/>
          </p:cNvSpPr>
          <p:nvPr/>
        </p:nvSpPr>
        <p:spPr>
          <a:xfrm>
            <a:off x="330394" y="155764"/>
            <a:ext cx="9313744" cy="5900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b="1" dirty="0" err="1">
                <a:latin typeface="EYInterstate" panose="02000503020000020004" pitchFamily="2" charset="0"/>
              </a:rPr>
              <a:t>Anáilisis</a:t>
            </a:r>
            <a:r>
              <a:rPr lang="es-ES" b="1" dirty="0">
                <a:latin typeface="EYInterstate" panose="02000503020000020004" pitchFamily="2" charset="0"/>
              </a:rPr>
              <a:t> de dato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43A9131-8132-4E68-9A63-AF6B6DD76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8160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7B62971-8BAF-4017-81E8-FCEE1F753C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3098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7B62971-8BAF-4017-81E8-FCEE1F753C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FAE8D38E-E1DC-458D-9475-7EAE05E311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23096" y="1357563"/>
            <a:ext cx="6048375" cy="5105400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9481BF3A-2EDD-45E4-A394-54A91067925C}"/>
              </a:ext>
            </a:extLst>
          </p:cNvPr>
          <p:cNvSpPr txBox="1">
            <a:spLocks/>
          </p:cNvSpPr>
          <p:nvPr/>
        </p:nvSpPr>
        <p:spPr>
          <a:xfrm>
            <a:off x="330394" y="155764"/>
            <a:ext cx="9313744" cy="5900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b="1" dirty="0" err="1">
                <a:latin typeface="EYInterstate" panose="02000503020000020004" pitchFamily="2" charset="0"/>
              </a:rPr>
              <a:t>Anáilisis</a:t>
            </a:r>
            <a:r>
              <a:rPr lang="es-ES" b="1" dirty="0">
                <a:latin typeface="EYInterstate" panose="02000503020000020004" pitchFamily="2" charset="0"/>
              </a:rPr>
              <a:t> de datos</a:t>
            </a:r>
          </a:p>
        </p:txBody>
      </p:sp>
    </p:spTree>
    <p:extLst>
      <p:ext uri="{BB962C8B-B14F-4D97-AF65-F5344CB8AC3E}">
        <p14:creationId xmlns:p14="http://schemas.microsoft.com/office/powerpoint/2010/main" val="11617966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F2BE10-80FC-4F96-B05F-68B6BBB21C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438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F2BE10-80FC-4F96-B05F-68B6BBB21C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71534D0-1381-41C9-8EF3-AA7CC2A4F23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505" r="2227" b="-1"/>
          <a:stretch/>
        </p:blipFill>
        <p:spPr>
          <a:xfrm>
            <a:off x="6046861" y="1584968"/>
            <a:ext cx="5639346" cy="41594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6C16772-9A4A-4749-92C4-E5514F2624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3" y="1584968"/>
            <a:ext cx="5143764" cy="415946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34A7A2C-4CB1-479D-8784-2E72A7740C42}"/>
              </a:ext>
            </a:extLst>
          </p:cNvPr>
          <p:cNvSpPr txBox="1">
            <a:spLocks/>
          </p:cNvSpPr>
          <p:nvPr/>
        </p:nvSpPr>
        <p:spPr>
          <a:xfrm>
            <a:off x="330394" y="155764"/>
            <a:ext cx="9313744" cy="5900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b="1" dirty="0" err="1">
                <a:latin typeface="EYInterstate" panose="02000503020000020004" pitchFamily="2" charset="0"/>
              </a:rPr>
              <a:t>Anáilisis</a:t>
            </a:r>
            <a:r>
              <a:rPr lang="es-ES" b="1" dirty="0">
                <a:latin typeface="EYInterstate" panose="02000503020000020004" pitchFamily="2" charset="0"/>
              </a:rPr>
              <a:t> de datos</a:t>
            </a:r>
          </a:p>
        </p:txBody>
      </p:sp>
    </p:spTree>
    <p:extLst>
      <p:ext uri="{BB962C8B-B14F-4D97-AF65-F5344CB8AC3E}">
        <p14:creationId xmlns:p14="http://schemas.microsoft.com/office/powerpoint/2010/main" val="1261210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D6EE02-6BD5-46DC-8AAD-F5620257F7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DD6EE02-6BD5-46DC-8AAD-F5620257F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2" name="Picture 81" descr="Map&#10;&#10;Description automatically generated">
            <a:extLst>
              <a:ext uri="{FF2B5EF4-FFF2-40B4-BE49-F238E27FC236}">
                <a16:creationId xmlns:a16="http://schemas.microsoft.com/office/drawing/2014/main" id="{1C636B70-0F5B-46B5-935E-7096F64094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5550" y="1425481"/>
            <a:ext cx="6760900" cy="45230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A60C0248-8317-4586-A88D-5F0A6445920D}"/>
              </a:ext>
            </a:extLst>
          </p:cNvPr>
          <p:cNvSpPr txBox="1">
            <a:spLocks/>
          </p:cNvSpPr>
          <p:nvPr/>
        </p:nvSpPr>
        <p:spPr>
          <a:xfrm>
            <a:off x="330394" y="155764"/>
            <a:ext cx="9313744" cy="5900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b="1" dirty="0" err="1">
                <a:latin typeface="EYInterstate" panose="02000503020000020004" pitchFamily="2" charset="0"/>
              </a:rPr>
              <a:t>Anáilisis</a:t>
            </a:r>
            <a:r>
              <a:rPr lang="es-ES" b="1" dirty="0">
                <a:latin typeface="EYInterstate" panose="02000503020000020004" pitchFamily="2" charset="0"/>
              </a:rPr>
              <a:t> de datos</a:t>
            </a:r>
          </a:p>
        </p:txBody>
      </p:sp>
    </p:spTree>
    <p:extLst>
      <p:ext uri="{BB962C8B-B14F-4D97-AF65-F5344CB8AC3E}">
        <p14:creationId xmlns:p14="http://schemas.microsoft.com/office/powerpoint/2010/main" val="9965843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EC931B-5F89-4F12-9473-55C013C273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1941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EC931B-5F89-4F12-9473-55C013C273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Chart&#10;&#10;Description automatically generated">
            <a:extLst>
              <a:ext uri="{FF2B5EF4-FFF2-40B4-BE49-F238E27FC236}">
                <a16:creationId xmlns:a16="http://schemas.microsoft.com/office/drawing/2014/main" id="{B984CEF2-DF63-47A9-A36F-F90A3CACEF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715619"/>
            <a:ext cx="4953000" cy="397876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B0F2833-EF5A-40AF-AD7F-0562CF9BFC06}"/>
              </a:ext>
            </a:extLst>
          </p:cNvPr>
          <p:cNvSpPr txBox="1">
            <a:spLocks/>
          </p:cNvSpPr>
          <p:nvPr/>
        </p:nvSpPr>
        <p:spPr>
          <a:xfrm>
            <a:off x="609603" y="909979"/>
            <a:ext cx="10972800" cy="590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>
                <a:latin typeface="EYInterstate" panose="02000503020000020004" pitchFamily="2" charset="0"/>
              </a:rPr>
              <a:t>Primer </a:t>
            </a:r>
            <a:r>
              <a:rPr lang="en-US" b="1" dirty="0" err="1">
                <a:latin typeface="EYInterstate" panose="02000503020000020004" pitchFamily="2" charset="0"/>
              </a:rPr>
              <a:t>objetivo</a:t>
            </a:r>
            <a:endParaRPr lang="en-US" b="1" dirty="0">
              <a:latin typeface="EYInterstate" panose="02000503020000020004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D036886-4C54-4E06-B228-A36762C92BAB}"/>
              </a:ext>
            </a:extLst>
          </p:cNvPr>
          <p:cNvSpPr txBox="1"/>
          <p:nvPr/>
        </p:nvSpPr>
        <p:spPr>
          <a:xfrm>
            <a:off x="5671566" y="2602915"/>
            <a:ext cx="53469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 err="1">
                <a:solidFill>
                  <a:schemeClr val="bg1"/>
                </a:solidFill>
              </a:rPr>
              <a:t>sqft_living</a:t>
            </a:r>
            <a:r>
              <a:rPr lang="en-US" b="1" dirty="0">
                <a:solidFill>
                  <a:schemeClr val="bg1"/>
                </a:solidFill>
              </a:rPr>
              <a:t>, grade y bathrooms</a:t>
            </a:r>
            <a:r>
              <a:rPr lang="en-US" dirty="0">
                <a:solidFill>
                  <a:schemeClr val="bg1"/>
                </a:solidFill>
              </a:rPr>
              <a:t> son las </a:t>
            </a:r>
            <a:r>
              <a:rPr lang="en-US" dirty="0" err="1">
                <a:solidFill>
                  <a:schemeClr val="bg1"/>
                </a:solidFill>
              </a:rPr>
              <a:t>características</a:t>
            </a:r>
            <a:r>
              <a:rPr lang="en-US" dirty="0">
                <a:solidFill>
                  <a:schemeClr val="bg1"/>
                </a:solidFill>
              </a:rPr>
              <a:t> de mayor </a:t>
            </a:r>
            <a:r>
              <a:rPr lang="en-US" dirty="0" err="1">
                <a:solidFill>
                  <a:schemeClr val="bg1"/>
                </a:solidFill>
              </a:rPr>
              <a:t>impacto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n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l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precio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4B33571-318C-4F0D-AC4A-A20F07B78044}"/>
              </a:ext>
            </a:extLst>
          </p:cNvPr>
          <p:cNvSpPr txBox="1">
            <a:spLocks/>
          </p:cNvSpPr>
          <p:nvPr/>
        </p:nvSpPr>
        <p:spPr>
          <a:xfrm>
            <a:off x="330394" y="155764"/>
            <a:ext cx="9313744" cy="5900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b="1" dirty="0">
                <a:latin typeface="EYInterstate" panose="02000503020000020004" pitchFamily="2" charset="0"/>
              </a:rPr>
              <a:t>Conclusiones</a:t>
            </a:r>
          </a:p>
        </p:txBody>
      </p:sp>
    </p:spTree>
    <p:extLst>
      <p:ext uri="{BB962C8B-B14F-4D97-AF65-F5344CB8AC3E}">
        <p14:creationId xmlns:p14="http://schemas.microsoft.com/office/powerpoint/2010/main" val="9947002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EC931B-5F89-4F12-9473-55C013C273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4569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EC931B-5F89-4F12-9473-55C013C273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3B0F2833-EF5A-40AF-AD7F-0562CF9BFC06}"/>
              </a:ext>
            </a:extLst>
          </p:cNvPr>
          <p:cNvSpPr txBox="1">
            <a:spLocks/>
          </p:cNvSpPr>
          <p:nvPr/>
        </p:nvSpPr>
        <p:spPr>
          <a:xfrm>
            <a:off x="609603" y="909979"/>
            <a:ext cx="10972800" cy="590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>
                <a:latin typeface="EYInterstate" panose="02000503020000020004" pitchFamily="2" charset="0"/>
              </a:rPr>
              <a:t>Segundo </a:t>
            </a:r>
            <a:r>
              <a:rPr lang="en-US" b="1" dirty="0" err="1">
                <a:latin typeface="EYInterstate" panose="02000503020000020004" pitchFamily="2" charset="0"/>
              </a:rPr>
              <a:t>objetivo</a:t>
            </a:r>
            <a:endParaRPr lang="en-US" b="1" dirty="0">
              <a:latin typeface="EYInterstate" panose="02000503020000020004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D036886-4C54-4E06-B228-A36762C92BAB}"/>
              </a:ext>
            </a:extLst>
          </p:cNvPr>
          <p:cNvSpPr txBox="1"/>
          <p:nvPr/>
        </p:nvSpPr>
        <p:spPr>
          <a:xfrm>
            <a:off x="5671566" y="2602915"/>
            <a:ext cx="534695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dirty="0">
                <a:solidFill>
                  <a:schemeClr val="bg1"/>
                </a:solidFill>
              </a:rPr>
              <a:t>El modelo </a:t>
            </a:r>
            <a:r>
              <a:rPr lang="es-ES" b="1" dirty="0">
                <a:solidFill>
                  <a:schemeClr val="bg1"/>
                </a:solidFill>
              </a:rPr>
              <a:t>LGBMR</a:t>
            </a:r>
            <a:r>
              <a:rPr lang="es-ES" dirty="0">
                <a:solidFill>
                  <a:schemeClr val="bg1"/>
                </a:solidFill>
              </a:rPr>
              <a:t> es el que mejor predice el modelo (0.895).</a:t>
            </a:r>
          </a:p>
          <a:p>
            <a:endParaRPr lang="es-ES" dirty="0">
              <a:solidFill>
                <a:schemeClr val="bg1"/>
              </a:solidFill>
            </a:endParaRPr>
          </a:p>
          <a:p>
            <a:r>
              <a:rPr lang="es-ES" b="1" dirty="0">
                <a:solidFill>
                  <a:schemeClr val="bg1"/>
                </a:solidFill>
              </a:rPr>
              <a:t>MAE: </a:t>
            </a:r>
            <a:r>
              <a:rPr lang="es-ES" dirty="0">
                <a:solidFill>
                  <a:schemeClr val="bg1"/>
                </a:solidFill>
              </a:rPr>
              <a:t>51461,56</a:t>
            </a:r>
          </a:p>
        </p:txBody>
      </p:sp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F052B732-EF35-4055-9DDC-B4B2D9C2B0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971" y="1664839"/>
            <a:ext cx="5086204" cy="3874833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EF7402E-00B8-4276-94D5-466A15F79BD3}"/>
              </a:ext>
            </a:extLst>
          </p:cNvPr>
          <p:cNvSpPr txBox="1">
            <a:spLocks/>
          </p:cNvSpPr>
          <p:nvPr/>
        </p:nvSpPr>
        <p:spPr>
          <a:xfrm>
            <a:off x="330394" y="155764"/>
            <a:ext cx="9313744" cy="5900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b="1" dirty="0">
                <a:latin typeface="EYInterstate" panose="02000503020000020004" pitchFamily="2" charset="0"/>
              </a:rPr>
              <a:t>Conclusiones</a:t>
            </a:r>
          </a:p>
        </p:txBody>
      </p:sp>
    </p:spTree>
    <p:extLst>
      <p:ext uri="{BB962C8B-B14F-4D97-AF65-F5344CB8AC3E}">
        <p14:creationId xmlns:p14="http://schemas.microsoft.com/office/powerpoint/2010/main" val="1579870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ylNXGORlK9Uy3jcAQz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jnKNfmLp17xPQqWBJt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EY light background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88A86F3247244DB363B23FF8C3E72F" ma:contentTypeVersion="10" ma:contentTypeDescription="Create a new document." ma:contentTypeScope="" ma:versionID="9e104996acc469d3fb564e193d1afb6d">
  <xsd:schema xmlns:xsd="http://www.w3.org/2001/XMLSchema" xmlns:xs="http://www.w3.org/2001/XMLSchema" xmlns:p="http://schemas.microsoft.com/office/2006/metadata/properties" xmlns:ns3="11ad3abe-5c2d-49ed-9be2-1ea3ae2ac317" xmlns:ns4="b26e7fb4-5bcc-42e8-8676-6cbe36f4d4ea" targetNamespace="http://schemas.microsoft.com/office/2006/metadata/properties" ma:root="true" ma:fieldsID="c1f949999089e27b7f7ccc7fd2052b54" ns3:_="" ns4:_="">
    <xsd:import namespace="11ad3abe-5c2d-49ed-9be2-1ea3ae2ac317"/>
    <xsd:import namespace="b26e7fb4-5bcc-42e8-8676-6cbe36f4d4e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ad3abe-5c2d-49ed-9be2-1ea3ae2ac3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6e7fb4-5bcc-42e8-8676-6cbe36f4d4e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38E42DA-1B9E-42BA-A27E-DCF51103B282}">
  <ds:schemaRefs>
    <ds:schemaRef ds:uri="http://schemas.microsoft.com/office/infopath/2007/PartnerControls"/>
    <ds:schemaRef ds:uri="11ad3abe-5c2d-49ed-9be2-1ea3ae2ac317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b26e7fb4-5bcc-42e8-8676-6cbe36f4d4e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99E3DAB-6626-4B0E-89C2-B6626D9618B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1ad3abe-5c2d-49ed-9be2-1ea3ae2ac317"/>
    <ds:schemaRef ds:uri="b26e7fb4-5bcc-42e8-8676-6cbe36f4d4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9FF397A-BAE5-4744-A7B5-B01D9C3E169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55</TotalTime>
  <Words>184</Words>
  <Application>Microsoft Office PowerPoint</Application>
  <PresentationFormat>Widescreen</PresentationFormat>
  <Paragraphs>44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rial</vt:lpstr>
      <vt:lpstr>Calibri</vt:lpstr>
      <vt:lpstr>Calibri Light</vt:lpstr>
      <vt:lpstr>EYInterstate</vt:lpstr>
      <vt:lpstr>EYInterstate Light</vt:lpstr>
      <vt:lpstr>Inter</vt:lpstr>
      <vt:lpstr>Office Theme</vt:lpstr>
      <vt:lpstr>EY light background</vt:lpstr>
      <vt:lpstr>think-cell Slide</vt:lpstr>
      <vt:lpstr>COMPANY EY HOUSES Predicción del precio de las viviendas</vt:lpstr>
      <vt:lpstr>Equip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a Casanovas Riera</dc:creator>
  <cp:lastModifiedBy>Anna Canellas Galceran</cp:lastModifiedBy>
  <cp:revision>21</cp:revision>
  <dcterms:created xsi:type="dcterms:W3CDTF">2022-11-23T14:55:08Z</dcterms:created>
  <dcterms:modified xsi:type="dcterms:W3CDTF">2022-11-24T15:4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88A86F3247244DB363B23FF8C3E72F</vt:lpwstr>
  </property>
</Properties>
</file>